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8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9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2" r:id="rId2"/>
    <p:sldMasterId id="2147483689" r:id="rId3"/>
    <p:sldMasterId id="2147483691" r:id="rId4"/>
    <p:sldMasterId id="2147483693" r:id="rId5"/>
    <p:sldMasterId id="2147483712" r:id="rId6"/>
    <p:sldMasterId id="2147483752" r:id="rId7"/>
    <p:sldMasterId id="2147483771" r:id="rId8"/>
    <p:sldMasterId id="2147483799" r:id="rId9"/>
    <p:sldMasterId id="2147483822" r:id="rId10"/>
  </p:sldMasterIdLst>
  <p:notesMasterIdLst>
    <p:notesMasterId r:id="rId23"/>
  </p:notesMasterIdLst>
  <p:sldIdLst>
    <p:sldId id="256" r:id="rId11"/>
    <p:sldId id="2147473411" r:id="rId12"/>
    <p:sldId id="2147472064" r:id="rId13"/>
    <p:sldId id="2147473416" r:id="rId14"/>
    <p:sldId id="2147473415" r:id="rId15"/>
    <p:sldId id="2134803854" r:id="rId16"/>
    <p:sldId id="2147469659" r:id="rId17"/>
    <p:sldId id="2147473413" r:id="rId18"/>
    <p:sldId id="2147473414" r:id="rId19"/>
    <p:sldId id="2147473412" r:id="rId20"/>
    <p:sldId id="2147472096" r:id="rId21"/>
    <p:sldId id="2147469665" r:id="rId22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C8F5A68-3555-448B-9CFD-A0626EAB14D4}">
          <p14:sldIdLst>
            <p14:sldId id="256"/>
            <p14:sldId id="2147473411"/>
          </p14:sldIdLst>
        </p14:section>
        <p14:section name="Who is FIS" id="{EFB3ED06-1FFB-4C01-BED0-E56A52A246CE}">
          <p14:sldIdLst>
            <p14:sldId id="2147472064"/>
            <p14:sldId id="2147473416"/>
            <p14:sldId id="2147473415"/>
          </p14:sldIdLst>
        </p14:section>
        <p14:section name="Customer Persona" id="{C0A5B6B6-485C-4D64-B746-8995B0FBA1CA}">
          <p14:sldIdLst>
            <p14:sldId id="2134803854"/>
            <p14:sldId id="2147469659"/>
            <p14:sldId id="2147473413"/>
            <p14:sldId id="2147473414"/>
            <p14:sldId id="2147473412"/>
            <p14:sldId id="2147472096"/>
            <p14:sldId id="21474696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878" autoAdjust="0"/>
    <p:restoredTop sz="95226" autoAdjust="0"/>
  </p:normalViewPr>
  <p:slideViewPr>
    <p:cSldViewPr snapToGrid="0">
      <p:cViewPr>
        <p:scale>
          <a:sx n="75" d="100"/>
          <a:sy n="75" d="100"/>
        </p:scale>
        <p:origin x="3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erson, Brant" userId="0a7f87ca-66fc-430e-b74e-3afdeea5af8e" providerId="ADAL" clId="{018A7FC1-1F2F-4905-8648-734A8A6845D0}"/>
    <pc:docChg chg="undo custSel delSld modSld sldOrd modSection">
      <pc:chgData name="Peterson, Brant" userId="0a7f87ca-66fc-430e-b74e-3afdeea5af8e" providerId="ADAL" clId="{018A7FC1-1F2F-4905-8648-734A8A6845D0}" dt="2022-09-12T15:05:43.120" v="587" actId="47"/>
      <pc:docMkLst>
        <pc:docMk/>
      </pc:docMkLst>
      <pc:sldChg chg="modSp mod">
        <pc:chgData name="Peterson, Brant" userId="0a7f87ca-66fc-430e-b74e-3afdeea5af8e" providerId="ADAL" clId="{018A7FC1-1F2F-4905-8648-734A8A6845D0}" dt="2022-09-12T14:39:37.748" v="574" actId="20577"/>
        <pc:sldMkLst>
          <pc:docMk/>
          <pc:sldMk cId="616691072" sldId="2134803854"/>
        </pc:sldMkLst>
        <pc:spChg chg="mod">
          <ac:chgData name="Peterson, Brant" userId="0a7f87ca-66fc-430e-b74e-3afdeea5af8e" providerId="ADAL" clId="{018A7FC1-1F2F-4905-8648-734A8A6845D0}" dt="2022-09-09T17:15:44.966" v="70" actId="20577"/>
          <ac:spMkLst>
            <pc:docMk/>
            <pc:sldMk cId="616691072" sldId="2134803854"/>
            <ac:spMk id="4" creationId="{A3A1CD8A-677B-33E1-6ED0-840BB1891672}"/>
          </ac:spMkLst>
        </pc:spChg>
        <pc:spChg chg="mod">
          <ac:chgData name="Peterson, Brant" userId="0a7f87ca-66fc-430e-b74e-3afdeea5af8e" providerId="ADAL" clId="{018A7FC1-1F2F-4905-8648-734A8A6845D0}" dt="2022-09-12T14:39:37.748" v="574" actId="20577"/>
          <ac:spMkLst>
            <pc:docMk/>
            <pc:sldMk cId="616691072" sldId="2134803854"/>
            <ac:spMk id="5" creationId="{802EF651-E767-A5BD-70E7-4C6BC10E6F85}"/>
          </ac:spMkLst>
        </pc:spChg>
      </pc:sldChg>
      <pc:sldChg chg="modSp mod">
        <pc:chgData name="Peterson, Brant" userId="0a7f87ca-66fc-430e-b74e-3afdeea5af8e" providerId="ADAL" clId="{018A7FC1-1F2F-4905-8648-734A8A6845D0}" dt="2022-09-09T17:25:32.942" v="86" actId="6549"/>
        <pc:sldMkLst>
          <pc:docMk/>
          <pc:sldMk cId="2659042091" sldId="2147469659"/>
        </pc:sldMkLst>
        <pc:spChg chg="mod">
          <ac:chgData name="Peterson, Brant" userId="0a7f87ca-66fc-430e-b74e-3afdeea5af8e" providerId="ADAL" clId="{018A7FC1-1F2F-4905-8648-734A8A6845D0}" dt="2022-09-09T17:24:50.341" v="72" actId="14100"/>
          <ac:spMkLst>
            <pc:docMk/>
            <pc:sldMk cId="2659042091" sldId="2147469659"/>
            <ac:spMk id="3" creationId="{E7ED3445-24B1-1223-52C2-2F1BF440C28C}"/>
          </ac:spMkLst>
        </pc:spChg>
        <pc:spChg chg="mod">
          <ac:chgData name="Peterson, Brant" userId="0a7f87ca-66fc-430e-b74e-3afdeea5af8e" providerId="ADAL" clId="{018A7FC1-1F2F-4905-8648-734A8A6845D0}" dt="2022-09-09T17:25:32.942" v="86" actId="6549"/>
          <ac:spMkLst>
            <pc:docMk/>
            <pc:sldMk cId="2659042091" sldId="2147469659"/>
            <ac:spMk id="4" creationId="{E9EE2FC5-6B4E-0F08-AE5B-114E542EDDCD}"/>
          </ac:spMkLst>
        </pc:spChg>
      </pc:sldChg>
      <pc:sldChg chg="modSp mod">
        <pc:chgData name="Peterson, Brant" userId="0a7f87ca-66fc-430e-b74e-3afdeea5af8e" providerId="ADAL" clId="{018A7FC1-1F2F-4905-8648-734A8A6845D0}" dt="2022-09-09T18:35:14.755" v="551" actId="6549"/>
        <pc:sldMkLst>
          <pc:docMk/>
          <pc:sldMk cId="1972978257" sldId="2147469665"/>
        </pc:sldMkLst>
        <pc:spChg chg="mod">
          <ac:chgData name="Peterson, Brant" userId="0a7f87ca-66fc-430e-b74e-3afdeea5af8e" providerId="ADAL" clId="{018A7FC1-1F2F-4905-8648-734A8A6845D0}" dt="2022-09-09T18:35:14.755" v="551" actId="6549"/>
          <ac:spMkLst>
            <pc:docMk/>
            <pc:sldMk cId="1972978257" sldId="2147469665"/>
            <ac:spMk id="3" creationId="{794430E2-8926-9B69-331B-D1B2A9B851D5}"/>
          </ac:spMkLst>
        </pc:spChg>
      </pc:sldChg>
      <pc:sldChg chg="del">
        <pc:chgData name="Peterson, Brant" userId="0a7f87ca-66fc-430e-b74e-3afdeea5af8e" providerId="ADAL" clId="{018A7FC1-1F2F-4905-8648-734A8A6845D0}" dt="2022-09-12T15:05:43.120" v="587" actId="47"/>
        <pc:sldMkLst>
          <pc:docMk/>
          <pc:sldMk cId="2508981664" sldId="2147472062"/>
        </pc:sldMkLst>
      </pc:sldChg>
      <pc:sldChg chg="del">
        <pc:chgData name="Peterson, Brant" userId="0a7f87ca-66fc-430e-b74e-3afdeea5af8e" providerId="ADAL" clId="{018A7FC1-1F2F-4905-8648-734A8A6845D0}" dt="2022-09-09T16:33:57.465" v="0" actId="47"/>
        <pc:sldMkLst>
          <pc:docMk/>
          <pc:sldMk cId="2539315430" sldId="2147472068"/>
        </pc:sldMkLst>
      </pc:sldChg>
      <pc:sldChg chg="modSp mod">
        <pc:chgData name="Peterson, Brant" userId="0a7f87ca-66fc-430e-b74e-3afdeea5af8e" providerId="ADAL" clId="{018A7FC1-1F2F-4905-8648-734A8A6845D0}" dt="2022-09-09T18:29:48.097" v="547" actId="20577"/>
        <pc:sldMkLst>
          <pc:docMk/>
          <pc:sldMk cId="3710543156" sldId="2147472096"/>
        </pc:sldMkLst>
        <pc:spChg chg="mod">
          <ac:chgData name="Peterson, Brant" userId="0a7f87ca-66fc-430e-b74e-3afdeea5af8e" providerId="ADAL" clId="{018A7FC1-1F2F-4905-8648-734A8A6845D0}" dt="2022-09-09T18:29:48.097" v="547" actId="20577"/>
          <ac:spMkLst>
            <pc:docMk/>
            <pc:sldMk cId="3710543156" sldId="2147472096"/>
            <ac:spMk id="3" creationId="{63A2ED75-CD35-DEF5-4CEF-B58F20B47010}"/>
          </ac:spMkLst>
        </pc:spChg>
      </pc:sldChg>
      <pc:sldChg chg="del">
        <pc:chgData name="Peterson, Brant" userId="0a7f87ca-66fc-430e-b74e-3afdeea5af8e" providerId="ADAL" clId="{018A7FC1-1F2F-4905-8648-734A8A6845D0}" dt="2022-09-09T16:34:28.460" v="1" actId="47"/>
        <pc:sldMkLst>
          <pc:docMk/>
          <pc:sldMk cId="2949954059" sldId="2147473390"/>
        </pc:sldMkLst>
      </pc:sldChg>
      <pc:sldChg chg="modSp del mod">
        <pc:chgData name="Peterson, Brant" userId="0a7f87ca-66fc-430e-b74e-3afdeea5af8e" providerId="ADAL" clId="{018A7FC1-1F2F-4905-8648-734A8A6845D0}" dt="2022-09-12T14:57:01.872" v="586" actId="47"/>
        <pc:sldMkLst>
          <pc:docMk/>
          <pc:sldMk cId="3413604627" sldId="2147473409"/>
        </pc:sldMkLst>
        <pc:spChg chg="mod">
          <ac:chgData name="Peterson, Brant" userId="0a7f87ca-66fc-430e-b74e-3afdeea5af8e" providerId="ADAL" clId="{018A7FC1-1F2F-4905-8648-734A8A6845D0}" dt="2022-09-09T16:34:36.837" v="6" actId="20577"/>
          <ac:spMkLst>
            <pc:docMk/>
            <pc:sldMk cId="3413604627" sldId="2147473409"/>
            <ac:spMk id="11" creationId="{745DA64E-A056-449A-9BBF-48A667419405}"/>
          </ac:spMkLst>
        </pc:spChg>
      </pc:sldChg>
      <pc:sldChg chg="modSp mod">
        <pc:chgData name="Peterson, Brant" userId="0a7f87ca-66fc-430e-b74e-3afdeea5af8e" providerId="ADAL" clId="{018A7FC1-1F2F-4905-8648-734A8A6845D0}" dt="2022-09-12T14:17:23.504" v="553" actId="20577"/>
        <pc:sldMkLst>
          <pc:docMk/>
          <pc:sldMk cId="1267710365" sldId="2147473411"/>
        </pc:sldMkLst>
        <pc:spChg chg="mod">
          <ac:chgData name="Peterson, Brant" userId="0a7f87ca-66fc-430e-b74e-3afdeea5af8e" providerId="ADAL" clId="{018A7FC1-1F2F-4905-8648-734A8A6845D0}" dt="2022-09-12T14:17:23.504" v="553" actId="20577"/>
          <ac:spMkLst>
            <pc:docMk/>
            <pc:sldMk cId="1267710365" sldId="2147473411"/>
            <ac:spMk id="3" creationId="{7C3247A4-917A-D483-32FE-654C7C218D4F}"/>
          </ac:spMkLst>
        </pc:spChg>
      </pc:sldChg>
      <pc:sldChg chg="modSp mod ord">
        <pc:chgData name="Peterson, Brant" userId="0a7f87ca-66fc-430e-b74e-3afdeea5af8e" providerId="ADAL" clId="{018A7FC1-1F2F-4905-8648-734A8A6845D0}" dt="2022-09-09T17:59:42.867" v="531" actId="20577"/>
        <pc:sldMkLst>
          <pc:docMk/>
          <pc:sldMk cId="1212843800" sldId="2147473412"/>
        </pc:sldMkLst>
        <pc:spChg chg="mod">
          <ac:chgData name="Peterson, Brant" userId="0a7f87ca-66fc-430e-b74e-3afdeea5af8e" providerId="ADAL" clId="{018A7FC1-1F2F-4905-8648-734A8A6845D0}" dt="2022-09-09T17:59:42.867" v="531" actId="20577"/>
          <ac:spMkLst>
            <pc:docMk/>
            <pc:sldMk cId="1212843800" sldId="2147473412"/>
            <ac:spMk id="4" creationId="{660C5D59-B932-2E3B-0C57-B5A5559E6E3F}"/>
          </ac:spMkLst>
        </pc:spChg>
      </pc:sldChg>
      <pc:sldChg chg="modSp mod">
        <pc:chgData name="Peterson, Brant" userId="0a7f87ca-66fc-430e-b74e-3afdeea5af8e" providerId="ADAL" clId="{018A7FC1-1F2F-4905-8648-734A8A6845D0}" dt="2022-09-12T14:45:03.949" v="585" actId="20577"/>
        <pc:sldMkLst>
          <pc:docMk/>
          <pc:sldMk cId="1455463574" sldId="2147473413"/>
        </pc:sldMkLst>
        <pc:spChg chg="mod">
          <ac:chgData name="Peterson, Brant" userId="0a7f87ca-66fc-430e-b74e-3afdeea5af8e" providerId="ADAL" clId="{018A7FC1-1F2F-4905-8648-734A8A6845D0}" dt="2022-09-12T14:45:03.949" v="585" actId="20577"/>
          <ac:spMkLst>
            <pc:docMk/>
            <pc:sldMk cId="1455463574" sldId="2147473413"/>
            <ac:spMk id="3" creationId="{E7ED3445-24B1-1223-52C2-2F1BF440C28C}"/>
          </ac:spMkLst>
        </pc:spChg>
        <pc:spChg chg="mod">
          <ac:chgData name="Peterson, Brant" userId="0a7f87ca-66fc-430e-b74e-3afdeea5af8e" providerId="ADAL" clId="{018A7FC1-1F2F-4905-8648-734A8A6845D0}" dt="2022-09-09T17:37:39.398" v="96" actId="21"/>
          <ac:spMkLst>
            <pc:docMk/>
            <pc:sldMk cId="1455463574" sldId="2147473413"/>
            <ac:spMk id="4" creationId="{E9EE2FC5-6B4E-0F08-AE5B-114E542EDDCD}"/>
          </ac:spMkLst>
        </pc:spChg>
      </pc:sldChg>
      <pc:sldChg chg="delSp modSp mod modClrScheme chgLayout">
        <pc:chgData name="Peterson, Brant" userId="0a7f87ca-66fc-430e-b74e-3afdeea5af8e" providerId="ADAL" clId="{018A7FC1-1F2F-4905-8648-734A8A6845D0}" dt="2022-09-09T17:50:44.865" v="429" actId="20577"/>
        <pc:sldMkLst>
          <pc:docMk/>
          <pc:sldMk cId="2959892707" sldId="2147473414"/>
        </pc:sldMkLst>
        <pc:spChg chg="del">
          <ac:chgData name="Peterson, Brant" userId="0a7f87ca-66fc-430e-b74e-3afdeea5af8e" providerId="ADAL" clId="{018A7FC1-1F2F-4905-8648-734A8A6845D0}" dt="2022-09-09T17:47:32.080" v="97" actId="700"/>
          <ac:spMkLst>
            <pc:docMk/>
            <pc:sldMk cId="2959892707" sldId="2147473414"/>
            <ac:spMk id="2" creationId="{0959251D-A02B-7726-2500-9DDF315AA2A1}"/>
          </ac:spMkLst>
        </pc:spChg>
        <pc:spChg chg="mod ord">
          <ac:chgData name="Peterson, Brant" userId="0a7f87ca-66fc-430e-b74e-3afdeea5af8e" providerId="ADAL" clId="{018A7FC1-1F2F-4905-8648-734A8A6845D0}" dt="2022-09-09T17:48:18.796" v="154" actId="20577"/>
          <ac:spMkLst>
            <pc:docMk/>
            <pc:sldMk cId="2959892707" sldId="2147473414"/>
            <ac:spMk id="3" creationId="{104A030B-48E8-C8A0-A331-7FBAEC9369A9}"/>
          </ac:spMkLst>
        </pc:spChg>
        <pc:spChg chg="mod ord">
          <ac:chgData name="Peterson, Brant" userId="0a7f87ca-66fc-430e-b74e-3afdeea5af8e" providerId="ADAL" clId="{018A7FC1-1F2F-4905-8648-734A8A6845D0}" dt="2022-09-09T17:50:44.865" v="429" actId="20577"/>
          <ac:spMkLst>
            <pc:docMk/>
            <pc:sldMk cId="2959892707" sldId="2147473414"/>
            <ac:spMk id="4" creationId="{516FABD8-6FB3-4B32-FBED-0BD6850D4D58}"/>
          </ac:spMkLst>
        </pc:spChg>
      </pc:sldChg>
      <pc:sldChg chg="modSp mod">
        <pc:chgData name="Peterson, Brant" userId="0a7f87ca-66fc-430e-b74e-3afdeea5af8e" providerId="ADAL" clId="{018A7FC1-1F2F-4905-8648-734A8A6845D0}" dt="2022-09-09T17:11:07.587" v="61" actId="6549"/>
        <pc:sldMkLst>
          <pc:docMk/>
          <pc:sldMk cId="1895402199" sldId="2147473416"/>
        </pc:sldMkLst>
        <pc:spChg chg="mod">
          <ac:chgData name="Peterson, Brant" userId="0a7f87ca-66fc-430e-b74e-3afdeea5af8e" providerId="ADAL" clId="{018A7FC1-1F2F-4905-8648-734A8A6845D0}" dt="2022-09-09T17:11:07.587" v="61" actId="6549"/>
          <ac:spMkLst>
            <pc:docMk/>
            <pc:sldMk cId="1895402199" sldId="2147473416"/>
            <ac:spMk id="3" creationId="{0AB5FAAE-F6A6-D025-B819-30C8C05F2833}"/>
          </ac:spMkLst>
        </pc:spChg>
      </pc:sldChg>
      <pc:sldMasterChg chg="delSldLayout">
        <pc:chgData name="Peterson, Brant" userId="0a7f87ca-66fc-430e-b74e-3afdeea5af8e" providerId="ADAL" clId="{018A7FC1-1F2F-4905-8648-734A8A6845D0}" dt="2022-09-09T16:33:57.465" v="0" actId="47"/>
        <pc:sldMasterMkLst>
          <pc:docMk/>
          <pc:sldMasterMk cId="2130933763" sldId="2147483661"/>
        </pc:sldMasterMkLst>
        <pc:sldLayoutChg chg="del">
          <pc:chgData name="Peterson, Brant" userId="0a7f87ca-66fc-430e-b74e-3afdeea5af8e" providerId="ADAL" clId="{018A7FC1-1F2F-4905-8648-734A8A6845D0}" dt="2022-09-09T16:33:57.465" v="0" actId="47"/>
          <pc:sldLayoutMkLst>
            <pc:docMk/>
            <pc:sldMasterMk cId="2130933763" sldId="2147483661"/>
            <pc:sldLayoutMk cId="3330424526" sldId="214748379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B049E9-4758-40CB-97B3-4C99405AF60B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8D917E-0BB3-4C8F-87F8-4BBB369D7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995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8D917E-0BB3-4C8F-87F8-4BBB369D78D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688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89E951-44F2-2C42-855C-4B0AB362BCB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030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0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sandme.com/fis/ourbrand/Pages/template.aspx" TargetMode="External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2.jp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sandme.com/fis/ourbrand/Pages/template.aspx" TargetMode="External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5355" y="4961176"/>
            <a:ext cx="6171197" cy="6886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67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15353" y="6057515"/>
            <a:ext cx="3777600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rgbClr val="8DC63F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6671" y="5783023"/>
            <a:ext cx="624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sp>
        <p:nvSpPr>
          <p:cNvPr id="8" name="Title 10"/>
          <p:cNvSpPr>
            <a:spLocks noGrp="1"/>
          </p:cNvSpPr>
          <p:nvPr>
            <p:ph type="title" hasCustomPrompt="1"/>
          </p:nvPr>
        </p:nvSpPr>
        <p:spPr>
          <a:xfrm>
            <a:off x="515353" y="3852129"/>
            <a:ext cx="7438944" cy="893345"/>
          </a:xfrm>
        </p:spPr>
        <p:txBody>
          <a:bodyPr anchor="b" anchorCtr="0">
            <a:noAutofit/>
          </a:bodyPr>
          <a:lstStyle>
            <a:lvl1pPr algn="l">
              <a:defRPr sz="2133" spc="-133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i-FI" dirty="0"/>
              <a:t>Presentation title testing length over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909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22816" y="1655765"/>
            <a:ext cx="5424000" cy="4511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6254677" y="1655765"/>
            <a:ext cx="5403667" cy="45116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2663235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0"/>
          <p:cNvSpPr>
            <a:spLocks noGrp="1"/>
          </p:cNvSpPr>
          <p:nvPr>
            <p:ph type="title" hasCustomPrompt="1"/>
          </p:nvPr>
        </p:nvSpPr>
        <p:spPr>
          <a:xfrm>
            <a:off x="515353" y="3095899"/>
            <a:ext cx="7438944" cy="1126053"/>
          </a:xfrm>
        </p:spPr>
        <p:txBody>
          <a:bodyPr anchor="b" anchorCtr="0">
            <a:noAutofit/>
          </a:bodyPr>
          <a:lstStyle>
            <a:lvl1pPr>
              <a:defRPr sz="4267" spc="-133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 testing length over image</a:t>
            </a:r>
            <a:endParaRPr lang="en-US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5353" y="4365728"/>
            <a:ext cx="8016000" cy="8397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67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9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15353" y="5787351"/>
            <a:ext cx="3777600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733" b="0">
                <a:solidFill>
                  <a:schemeClr val="tx2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6671" y="5512859"/>
            <a:ext cx="624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733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846815053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icture dark tex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684745"/>
            <a:ext cx="8016000" cy="1833019"/>
          </a:xfrm>
        </p:spPr>
        <p:txBody>
          <a:bodyPr anchor="b" anchorCtr="0">
            <a:noAutofit/>
          </a:bodyPr>
          <a:lstStyle>
            <a:lvl1pPr>
              <a:defRPr sz="6667" spc="-133" baseline="0">
                <a:solidFill>
                  <a:schemeClr val="bg2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3008335"/>
            <a:ext cx="8016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67" b="0">
                <a:solidFill>
                  <a:schemeClr val="bg2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08800" y="6197380"/>
            <a:ext cx="3777600" cy="2880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0117" y="5900664"/>
            <a:ext cx="624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7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A8CB04-85C4-409A-BF06-872F1E5C730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0717" y="5782131"/>
            <a:ext cx="3206568" cy="73749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C593679-03C5-4FCF-A202-3F0AAF7B9272}"/>
              </a:ext>
            </a:extLst>
          </p:cNvPr>
          <p:cNvCxnSpPr/>
          <p:nvPr/>
        </p:nvCxnSpPr>
        <p:spPr>
          <a:xfrm>
            <a:off x="510119" y="2836207"/>
            <a:ext cx="1387956" cy="0"/>
          </a:xfrm>
          <a:prstGeom prst="line">
            <a:avLst/>
          </a:prstGeom>
          <a:ln w="76200" cap="rnd">
            <a:solidFill>
              <a:srgbClr val="92D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B3AC8F3-599A-474D-A6A3-BCEAE7C283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56069"/>
            <a:ext cx="12192000" cy="1086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73261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7E80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508000" y="1378007"/>
            <a:ext cx="11074400" cy="444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59078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35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6"/>
            <a:ext cx="11137644" cy="432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51119" y="6528824"/>
            <a:ext cx="624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0602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5355" y="4961176"/>
            <a:ext cx="6171197" cy="6886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67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15353" y="6057515"/>
            <a:ext cx="3777600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rgbClr val="8DC63F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6671" y="5783023"/>
            <a:ext cx="624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sp>
        <p:nvSpPr>
          <p:cNvPr id="8" name="Title 10"/>
          <p:cNvSpPr>
            <a:spLocks noGrp="1"/>
          </p:cNvSpPr>
          <p:nvPr>
            <p:ph type="title" hasCustomPrompt="1"/>
          </p:nvPr>
        </p:nvSpPr>
        <p:spPr>
          <a:xfrm>
            <a:off x="515353" y="3852129"/>
            <a:ext cx="7438944" cy="893345"/>
          </a:xfrm>
        </p:spPr>
        <p:txBody>
          <a:bodyPr anchor="b" anchorCtr="0">
            <a:noAutofit/>
          </a:bodyPr>
          <a:lstStyle>
            <a:lvl1pPr algn="l">
              <a:defRPr sz="2133" spc="-133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i-FI" dirty="0"/>
              <a:t>Presentation title testing length over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5290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5353" y="3852129"/>
            <a:ext cx="7438944" cy="893345"/>
          </a:xfrm>
        </p:spPr>
        <p:txBody>
          <a:bodyPr anchor="b" anchorCtr="0">
            <a:noAutofit/>
          </a:bodyPr>
          <a:lstStyle>
            <a:lvl1pPr algn="l">
              <a:defRPr sz="2133" spc="-133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i-FI" dirty="0"/>
              <a:t>Presentation title testing length over imag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5355" y="4961176"/>
            <a:ext cx="6171197" cy="6886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67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15353" y="6057515"/>
            <a:ext cx="3777600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rgbClr val="8DC63F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6671" y="5783023"/>
            <a:ext cx="624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41289993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1119" y="6540035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7"/>
            <a:ext cx="11137644" cy="451124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1765797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833034"/>
            <a:ext cx="11137644" cy="433440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8226847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647826"/>
            <a:ext cx="5462923" cy="450691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647826"/>
            <a:ext cx="5462400" cy="450691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6425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828802"/>
            <a:ext cx="5462923" cy="433863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828802"/>
            <a:ext cx="5462400" cy="433863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552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ed quote FIS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-196897" y="1257827"/>
            <a:ext cx="7526528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733">
                <a:solidFill>
                  <a:schemeClr val="bg1"/>
                </a:solidFill>
              </a:defRPr>
            </a:lvl1pPr>
            <a:lvl2pPr marL="118528" indent="0">
              <a:buFontTx/>
              <a:buNone/>
              <a:defRPr sz="4800"/>
            </a:lvl2pPr>
            <a:lvl3pPr marL="357698" indent="0">
              <a:buFontTx/>
              <a:buNone/>
              <a:defRPr sz="4800"/>
            </a:lvl3pPr>
            <a:lvl4pPr marL="596870" indent="0">
              <a:buFontTx/>
              <a:buNone/>
              <a:defRPr sz="4800"/>
            </a:lvl4pPr>
            <a:lvl5pPr marL="836042" indent="0">
              <a:buFontTx/>
              <a:buNone/>
              <a:defRPr sz="4800"/>
            </a:lvl5pPr>
          </a:lstStyle>
          <a:p>
            <a:r>
              <a:rPr lang="en-US" dirty="0"/>
              <a:t>“Quote layout type quote and adapt font size if necessary.</a:t>
            </a:r>
            <a:br>
              <a:rPr lang="en-US" dirty="0"/>
            </a:br>
            <a:r>
              <a:rPr lang="en-US" dirty="0"/>
              <a:t>Arial 28 </a:t>
            </a:r>
            <a:r>
              <a:rPr lang="en-US" dirty="0" err="1"/>
              <a:t>pt</a:t>
            </a:r>
            <a:r>
              <a:rPr lang="en-US" dirty="0"/>
              <a:t> bold white”</a:t>
            </a:r>
          </a:p>
        </p:txBody>
      </p:sp>
    </p:spTree>
    <p:extLst>
      <p:ext uri="{BB962C8B-B14F-4D97-AF65-F5344CB8AC3E}">
        <p14:creationId xmlns:p14="http://schemas.microsoft.com/office/powerpoint/2010/main" val="171649830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4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72661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93871"/>
            <a:ext cx="11148483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82727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8336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22816" y="1655765"/>
            <a:ext cx="5424000" cy="4511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6254677" y="1655765"/>
            <a:ext cx="5403667" cy="45116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4921367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FIS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-196897" y="1257827"/>
            <a:ext cx="7526528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733">
                <a:solidFill>
                  <a:schemeClr val="bg1"/>
                </a:solidFill>
              </a:defRPr>
            </a:lvl1pPr>
            <a:lvl2pPr marL="118528" indent="0">
              <a:buFontTx/>
              <a:buNone/>
              <a:defRPr sz="4800"/>
            </a:lvl2pPr>
            <a:lvl3pPr marL="357698" indent="0">
              <a:buFontTx/>
              <a:buNone/>
              <a:defRPr sz="4800"/>
            </a:lvl3pPr>
            <a:lvl4pPr marL="596870" indent="0">
              <a:buFontTx/>
              <a:buNone/>
              <a:defRPr sz="4800"/>
            </a:lvl4pPr>
            <a:lvl5pPr marL="836042" indent="0">
              <a:buFontTx/>
              <a:buNone/>
              <a:defRPr sz="4800"/>
            </a:lvl5pPr>
          </a:lstStyle>
          <a:p>
            <a:r>
              <a:rPr lang="en-US" dirty="0"/>
              <a:t>“Quote layout type quote and adapt font size if necessary.</a:t>
            </a:r>
            <a:br>
              <a:rPr lang="en-US" dirty="0"/>
            </a:br>
            <a:r>
              <a:rPr lang="en-US" dirty="0"/>
              <a:t>Arial 28 </a:t>
            </a:r>
            <a:r>
              <a:rPr lang="en-US" dirty="0" err="1"/>
              <a:t>pt</a:t>
            </a:r>
            <a:r>
              <a:rPr lang="en-US" dirty="0"/>
              <a:t> bold white”</a:t>
            </a:r>
          </a:p>
        </p:txBody>
      </p:sp>
    </p:spTree>
    <p:extLst>
      <p:ext uri="{BB962C8B-B14F-4D97-AF65-F5344CB8AC3E}">
        <p14:creationId xmlns:p14="http://schemas.microsoft.com/office/powerpoint/2010/main" val="67572607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94790" y="3059213"/>
            <a:ext cx="37232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94789" y="3495603"/>
            <a:ext cx="11148483" cy="868293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67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94789" y="3038197"/>
            <a:ext cx="11148227" cy="4574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57165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25189" y="3842331"/>
            <a:ext cx="8016000" cy="1126053"/>
          </a:xfrm>
        </p:spPr>
        <p:txBody>
          <a:bodyPr anchor="b" anchorCtr="0">
            <a:noAutofit/>
          </a:bodyPr>
          <a:lstStyle>
            <a:lvl1pPr>
              <a:defRPr sz="5867" spc="-133" baseline="0">
                <a:solidFill>
                  <a:schemeClr val="bg1"/>
                </a:solidFill>
              </a:defRPr>
            </a:lvl1pPr>
          </a:lstStyle>
          <a:p>
            <a:r>
              <a:rPr lang="fi-FI" dirty="0" err="1"/>
              <a:t>Thank</a:t>
            </a:r>
            <a:r>
              <a:rPr lang="fi-FI" dirty="0"/>
              <a:t> </a:t>
            </a:r>
            <a:r>
              <a:rPr lang="fi-FI" dirty="0" err="1"/>
              <a:t>You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25189" y="5102328"/>
            <a:ext cx="8016000" cy="8397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67" b="0" baseline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er Name &amp; </a:t>
            </a:r>
          </a:p>
          <a:p>
            <a:pPr lvl="0"/>
            <a:r>
              <a:rPr lang="fi-FI" dirty="0"/>
              <a:t>Contact Information </a:t>
            </a:r>
          </a:p>
        </p:txBody>
      </p:sp>
    </p:spTree>
    <p:extLst>
      <p:ext uri="{BB962C8B-B14F-4D97-AF65-F5344CB8AC3E}">
        <p14:creationId xmlns:p14="http://schemas.microsoft.com/office/powerpoint/2010/main" val="340766146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ditional Presentaiton Resources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57200" y="508000"/>
            <a:ext cx="9753600" cy="753592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r>
              <a:rPr lang="en-US" sz="4267" b="1" dirty="0">
                <a:solidFill>
                  <a:srgbClr val="FFFFFF"/>
                </a:solidFill>
                <a:latin typeface="+mn-lt"/>
              </a:rPr>
              <a:t>Additional</a:t>
            </a:r>
            <a:r>
              <a:rPr lang="en-US" sz="4267" b="1" baseline="0" dirty="0">
                <a:solidFill>
                  <a:srgbClr val="FFFFFF"/>
                </a:solidFill>
                <a:latin typeface="+mn-lt"/>
              </a:rPr>
              <a:t> Information</a:t>
            </a:r>
            <a:endParaRPr lang="en-US" sz="4267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1" y="1693335"/>
            <a:ext cx="11082183" cy="4692170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r>
              <a:rPr lang="en-US" sz="2133" dirty="0">
                <a:solidFill>
                  <a:srgbClr val="FFFFFF"/>
                </a:solidFill>
              </a:rPr>
              <a:t>Additional</a:t>
            </a:r>
            <a:r>
              <a:rPr lang="en-US" sz="2133" baseline="0" dirty="0">
                <a:solidFill>
                  <a:srgbClr val="FFFFFF"/>
                </a:solidFill>
              </a:rPr>
              <a:t> resource templates are available on FIS&amp;me</a:t>
            </a:r>
            <a:endParaRPr lang="en-US" sz="2133" dirty="0">
              <a:solidFill>
                <a:srgbClr val="FFFFFF"/>
              </a:solidFill>
            </a:endParaRPr>
          </a:p>
          <a:p>
            <a:endParaRPr lang="en-US" sz="2133" baseline="0" dirty="0">
              <a:solidFill>
                <a:srgbClr val="FFFFFF"/>
              </a:solidFill>
            </a:endParaRPr>
          </a:p>
          <a:p>
            <a:r>
              <a:rPr lang="en-US" sz="2133" dirty="0">
                <a:solidFill>
                  <a:srgbClr val="FFFFFF"/>
                </a:solidFill>
              </a:rPr>
              <a:t>For</a:t>
            </a:r>
            <a:r>
              <a:rPr lang="en-US" sz="2133" baseline="0" dirty="0">
                <a:solidFill>
                  <a:srgbClr val="FFFFFF"/>
                </a:solidFill>
              </a:rPr>
              <a:t> FIS colors, graphs and approved brand elements see the 4:3 PPT presentation tool kit located on fisandme.com </a:t>
            </a:r>
          </a:p>
          <a:p>
            <a:r>
              <a:rPr lang="en-US" sz="2133" u="sng" baseline="0" dirty="0">
                <a:solidFill>
                  <a:srgbClr val="FFFFFF"/>
                </a:solidFill>
                <a:hlinkClick r:id="rId3"/>
              </a:rPr>
              <a:t>https://www.fisandme.com/fis/ourbrand/Pages/template.aspx</a:t>
            </a:r>
            <a:endParaRPr lang="en-US" sz="2133" u="sng" baseline="0" dirty="0">
              <a:solidFill>
                <a:srgbClr val="FFFFFF"/>
              </a:solidFill>
            </a:endParaRPr>
          </a:p>
          <a:p>
            <a:endParaRPr lang="en-US" sz="2133" u="sng" baseline="0" dirty="0">
              <a:solidFill>
                <a:srgbClr val="FFFFFF"/>
              </a:solidFill>
            </a:endParaRPr>
          </a:p>
          <a:p>
            <a:r>
              <a:rPr lang="en-US" sz="2133" u="none" baseline="0" dirty="0">
                <a:solidFill>
                  <a:srgbClr val="FFFFFF"/>
                </a:solidFill>
              </a:rPr>
              <a:t>For helpful presentation guidelines, download the “FIS Presentation How To Guidelines”  </a:t>
            </a:r>
          </a:p>
          <a:p>
            <a:endParaRPr lang="en-US" sz="2133" baseline="0" dirty="0">
              <a:solidFill>
                <a:srgbClr val="FFFFFF"/>
              </a:solidFill>
            </a:endParaRPr>
          </a:p>
          <a:p>
            <a:r>
              <a:rPr lang="en-US" sz="2133" i="1" baseline="0" dirty="0">
                <a:solidFill>
                  <a:srgbClr val="FFFFFF"/>
                </a:solidFill>
              </a:rPr>
              <a:t>Note: you will be able to pull the charts and graphs into a 16x9 presentation with no loss of information or resolution. Do not  drag a 4x3 slide into a 16x9  presentation. You will need to copy the element you wish to use (a graph) from the 4x3 presentation and paste it into your 16x9 presentation.</a:t>
            </a:r>
          </a:p>
          <a:p>
            <a:endParaRPr lang="en-US" sz="2133" i="1" baseline="0" dirty="0">
              <a:solidFill>
                <a:srgbClr val="FFFFFF"/>
              </a:solidFill>
            </a:endParaRPr>
          </a:p>
          <a:p>
            <a:endParaRPr lang="en-US" sz="2133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30438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96426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7668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94790" y="3059213"/>
            <a:ext cx="37232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94789" y="3495603"/>
            <a:ext cx="11148483" cy="868293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67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94789" y="3038197"/>
            <a:ext cx="11148227" cy="4574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94689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927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508000" y="1378009"/>
            <a:ext cx="5417880" cy="444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 bwMode="auto">
          <a:xfrm>
            <a:off x="6209413" y="1378009"/>
            <a:ext cx="5372987" cy="444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282990"/>
      </p:ext>
    </p:extLst>
  </p:cSld>
  <p:clrMapOvr>
    <a:masterClrMapping/>
  </p:clrMapOvr>
  <p:hf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0364" y="851993"/>
            <a:ext cx="11099555" cy="339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slide with subhead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6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489600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409701"/>
            <a:ext cx="8016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3376665"/>
            <a:ext cx="8016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08800" y="5787351"/>
            <a:ext cx="37776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0117" y="5557309"/>
            <a:ext cx="576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852" y="5374991"/>
            <a:ext cx="3965312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53884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ja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89884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409701"/>
            <a:ext cx="8016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3376665"/>
            <a:ext cx="8016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08800" y="5796876"/>
            <a:ext cx="37776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852" y="5374991"/>
            <a:ext cx="3965312" cy="6840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0117" y="5557309"/>
            <a:ext cx="576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38779231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1119" y="6499796"/>
            <a:ext cx="624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7"/>
            <a:ext cx="11137644" cy="45112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334030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itle with subtitle and content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51119" y="6503424"/>
            <a:ext cx="624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833035"/>
            <a:ext cx="11137644" cy="43344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5003802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wo Content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828803"/>
            <a:ext cx="5462923" cy="43386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828803"/>
            <a:ext cx="5462400" cy="43386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423243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Font typeface="Arial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809C4B-5EDD-4237-99AE-BC3B81C9F2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395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gradFill>
          <a:gsLst>
            <a:gs pos="100000">
              <a:srgbClr val="7030A0"/>
            </a:gs>
            <a:gs pos="0">
              <a:schemeClr val="accent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D7520D5-DF2C-4803-BA63-E3E927C5A1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F56FABCD-0C61-4D6A-8519-7E0EE754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8569" y="3772357"/>
            <a:ext cx="2294859" cy="387798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ctr" defTabSz="487668" rtl="0" eaLnBrk="1" fontAlgn="auto" latinLnBrk="0" hangingPunct="1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192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/>
              <a:t>Insert subtitle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7508428-7FF3-468F-A2B0-E6363712079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2091" y="714344"/>
            <a:ext cx="1187813" cy="527916"/>
          </a:xfrm>
          <a:prstGeom prst="rect">
            <a:avLst/>
          </a:prstGeom>
        </p:spPr>
      </p:pic>
      <p:sp>
        <p:nvSpPr>
          <p:cNvPr id="10" name="Title 10">
            <a:extLst>
              <a:ext uri="{FF2B5EF4-FFF2-40B4-BE49-F238E27FC236}">
                <a16:creationId xmlns:a16="http://schemas.microsoft.com/office/drawing/2014/main" id="{606AE2D2-9943-4045-B9F0-13CD1DC7E2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770" y="1885760"/>
            <a:ext cx="9742459" cy="14369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algn="ctr" defTabSz="243834" rtl="0" eaLnBrk="1" latinLnBrk="0" hangingPunct="1">
              <a:lnSpc>
                <a:spcPts val="5500"/>
              </a:lnSpc>
              <a:spcBef>
                <a:spcPct val="0"/>
              </a:spcBef>
              <a:buNone/>
              <a:defRPr lang="en-US" sz="6000" b="1" i="0" kern="1200" cap="all" spc="-300" baseline="0" dirty="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Arial Black" panose="020B0A040201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570332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426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25189" y="3842331"/>
            <a:ext cx="8016000" cy="1126053"/>
          </a:xfrm>
        </p:spPr>
        <p:txBody>
          <a:bodyPr anchor="b" anchorCtr="0">
            <a:noAutofit/>
          </a:bodyPr>
          <a:lstStyle>
            <a:lvl1pPr>
              <a:defRPr sz="5867" spc="-133" baseline="0">
                <a:solidFill>
                  <a:schemeClr val="bg1"/>
                </a:solidFill>
              </a:defRPr>
            </a:lvl1pPr>
          </a:lstStyle>
          <a:p>
            <a:r>
              <a:rPr lang="fi-FI" dirty="0" err="1"/>
              <a:t>Thank</a:t>
            </a:r>
            <a:r>
              <a:rPr lang="fi-FI" dirty="0"/>
              <a:t> </a:t>
            </a:r>
            <a:r>
              <a:rPr lang="fi-FI" dirty="0" err="1"/>
              <a:t>You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25189" y="5102328"/>
            <a:ext cx="8016000" cy="8397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67" b="0" baseline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er Name &amp; </a:t>
            </a:r>
          </a:p>
          <a:p>
            <a:pPr lvl="0"/>
            <a:r>
              <a:rPr lang="fi-FI" dirty="0"/>
              <a:t>Contact Information </a:t>
            </a:r>
          </a:p>
        </p:txBody>
      </p:sp>
    </p:spTree>
    <p:extLst>
      <p:ext uri="{BB962C8B-B14F-4D97-AF65-F5344CB8AC3E}">
        <p14:creationId xmlns:p14="http://schemas.microsoft.com/office/powerpoint/2010/main" val="11531455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1613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091158-6E0F-4BEE-9D04-732A2F7646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39855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091158-6E0F-4BEE-9D04-732A2F7646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05439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091158-6E0F-4BEE-9D04-732A2F7646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29317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091158-6E0F-4BEE-9D04-732A2F7646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9A3BCF0-3FEC-486B-85E9-17CF221590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3889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091158-6E0F-4BEE-9D04-732A2F7646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8978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5C8CD8A-5162-4C5A-BE19-25DBB3719234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34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46075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ONLY">
    <p:bg>
      <p:bgPr>
        <a:gradFill>
          <a:gsLst>
            <a:gs pos="0">
              <a:srgbClr val="009775"/>
            </a:gs>
            <a:gs pos="100000">
              <a:srgbClr val="285BC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5C8CD8A-5162-4C5A-BE19-25DBB3719234}"/>
              </a:ext>
            </a:extLst>
          </p:cNvPr>
          <p:cNvSpPr/>
          <p:nvPr/>
        </p:nvSpPr>
        <p:spPr>
          <a:xfrm flipH="1"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9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830AFF5-9A5E-4246-380A-EC7EB8F1C4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9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369F42-E7A2-3864-D01E-765FF806C65E}"/>
              </a:ext>
            </a:extLst>
          </p:cNvPr>
          <p:cNvCxnSpPr>
            <a:cxnSpLocks/>
          </p:cNvCxnSpPr>
          <p:nvPr userDrawn="1"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51AB299F-EE31-63CD-09CD-B776B8695E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4408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0A7C3BF-2194-4E99-99E8-0547731D5B28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0">
                <a:srgbClr val="127B9A"/>
              </a:gs>
              <a:gs pos="100000">
                <a:srgbClr val="285BC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C8CD8A-5162-4C5A-BE19-25DBB3719234}"/>
              </a:ext>
            </a:extLst>
          </p:cNvPr>
          <p:cNvSpPr/>
          <p:nvPr/>
        </p:nvSpPr>
        <p:spPr>
          <a:xfrm flipH="1">
            <a:off x="6095999" y="0"/>
            <a:ext cx="6095999" cy="6858000"/>
          </a:xfrm>
          <a:prstGeom prst="rect">
            <a:avLst/>
          </a:prstGeom>
          <a:blipFill dpi="0" rotWithShape="1">
            <a:blip r:embed="rId2" cstate="screen">
              <a:alphaModFix amt="1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49650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0A7C3BF-2194-4E99-99E8-0547731D5B28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0">
                <a:srgbClr val="127B9A"/>
              </a:gs>
              <a:gs pos="100000">
                <a:srgbClr val="285BC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C8CD8A-5162-4C5A-BE19-25DBB3719234}"/>
              </a:ext>
            </a:extLst>
          </p:cNvPr>
          <p:cNvSpPr/>
          <p:nvPr/>
        </p:nvSpPr>
        <p:spPr>
          <a:xfrm flipH="1">
            <a:off x="6095999" y="0"/>
            <a:ext cx="6095999" cy="6858000"/>
          </a:xfrm>
          <a:prstGeom prst="rect">
            <a:avLst/>
          </a:prstGeom>
          <a:blipFill dpi="0" rotWithShape="1">
            <a:blip r:embed="rId2" cstate="screen">
              <a:alphaModFix amt="1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071F485-D378-481A-8A06-6E0E97F64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1" y="365125"/>
            <a:ext cx="4998834" cy="81535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E1E161C-28F4-459D-B657-297105543772}"/>
              </a:ext>
            </a:extLst>
          </p:cNvPr>
          <p:cNvCxnSpPr>
            <a:cxnSpLocks/>
          </p:cNvCxnSpPr>
          <p:nvPr/>
        </p:nvCxnSpPr>
        <p:spPr>
          <a:xfrm>
            <a:off x="413061" y="1243877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8A098E62-4587-7544-90D6-0E80460D47C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0">
                <a:srgbClr val="127B9A"/>
              </a:gs>
              <a:gs pos="100000">
                <a:srgbClr val="285BC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3F278-1ECA-40C5-9BE3-74C491F6E74E}"/>
              </a:ext>
            </a:extLst>
          </p:cNvPr>
          <p:cNvSpPr/>
          <p:nvPr userDrawn="1"/>
        </p:nvSpPr>
        <p:spPr>
          <a:xfrm flipH="1">
            <a:off x="6095999" y="0"/>
            <a:ext cx="6095999" cy="6858000"/>
          </a:xfrm>
          <a:prstGeom prst="rect">
            <a:avLst/>
          </a:prstGeom>
          <a:blipFill dpi="0" rotWithShape="1">
            <a:blip r:embed="rId2" cstate="screen">
              <a:alphaModFix amt="1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E5FE0E07-17A0-A5CE-A3D5-0490E13BAD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46F01C-879C-8A18-59CF-48448FEA9FE6}"/>
              </a:ext>
            </a:extLst>
          </p:cNvPr>
          <p:cNvCxnSpPr>
            <a:cxnSpLocks/>
          </p:cNvCxnSpPr>
          <p:nvPr userDrawn="1"/>
        </p:nvCxnSpPr>
        <p:spPr>
          <a:xfrm>
            <a:off x="413061" y="1243877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16099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dditional Presentaiton Resources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57200" y="508000"/>
            <a:ext cx="9753600" cy="753592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r>
              <a:rPr lang="en-US" sz="4267" b="1" dirty="0">
                <a:solidFill>
                  <a:srgbClr val="FFFFFF"/>
                </a:solidFill>
                <a:latin typeface="+mn-lt"/>
              </a:rPr>
              <a:t>Additional</a:t>
            </a:r>
            <a:r>
              <a:rPr lang="en-US" sz="4267" b="1" baseline="0" dirty="0">
                <a:solidFill>
                  <a:srgbClr val="FFFFFF"/>
                </a:solidFill>
                <a:latin typeface="+mn-lt"/>
              </a:rPr>
              <a:t> Information</a:t>
            </a:r>
            <a:endParaRPr lang="en-US" sz="4267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7201" y="1693335"/>
            <a:ext cx="11082183" cy="4692170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r>
              <a:rPr lang="en-US" sz="2133" dirty="0">
                <a:solidFill>
                  <a:srgbClr val="FFFFFF"/>
                </a:solidFill>
              </a:rPr>
              <a:t>Additional</a:t>
            </a:r>
            <a:r>
              <a:rPr lang="en-US" sz="2133" baseline="0" dirty="0">
                <a:solidFill>
                  <a:srgbClr val="FFFFFF"/>
                </a:solidFill>
              </a:rPr>
              <a:t> resource templates are available on FIS&amp;me</a:t>
            </a:r>
            <a:endParaRPr lang="en-US" sz="2133" dirty="0">
              <a:solidFill>
                <a:srgbClr val="FFFFFF"/>
              </a:solidFill>
            </a:endParaRPr>
          </a:p>
          <a:p>
            <a:endParaRPr lang="en-US" sz="2133" baseline="0" dirty="0">
              <a:solidFill>
                <a:srgbClr val="FFFFFF"/>
              </a:solidFill>
            </a:endParaRPr>
          </a:p>
          <a:p>
            <a:r>
              <a:rPr lang="en-US" sz="2133" dirty="0">
                <a:solidFill>
                  <a:srgbClr val="FFFFFF"/>
                </a:solidFill>
              </a:rPr>
              <a:t>For</a:t>
            </a:r>
            <a:r>
              <a:rPr lang="en-US" sz="2133" baseline="0" dirty="0">
                <a:solidFill>
                  <a:srgbClr val="FFFFFF"/>
                </a:solidFill>
              </a:rPr>
              <a:t> FIS colors, graphs and approved brand elements see the 4:3 PPT presentation tool kit located on fisandme.com </a:t>
            </a:r>
          </a:p>
          <a:p>
            <a:r>
              <a:rPr lang="en-US" sz="2133" u="sng" baseline="0" dirty="0">
                <a:solidFill>
                  <a:srgbClr val="FFFFFF"/>
                </a:solidFill>
                <a:hlinkClick r:id="rId3"/>
              </a:rPr>
              <a:t>https://www.fisandme.com/fis/ourbrand/Pages/template.aspx</a:t>
            </a:r>
            <a:endParaRPr lang="en-US" sz="2133" u="sng" baseline="0" dirty="0">
              <a:solidFill>
                <a:srgbClr val="FFFFFF"/>
              </a:solidFill>
            </a:endParaRPr>
          </a:p>
          <a:p>
            <a:endParaRPr lang="en-US" sz="2133" u="sng" baseline="0" dirty="0">
              <a:solidFill>
                <a:srgbClr val="FFFFFF"/>
              </a:solidFill>
            </a:endParaRPr>
          </a:p>
          <a:p>
            <a:r>
              <a:rPr lang="en-US" sz="2133" u="none" baseline="0" dirty="0">
                <a:solidFill>
                  <a:srgbClr val="FFFFFF"/>
                </a:solidFill>
              </a:rPr>
              <a:t>For helpful presentation guidelines, download the “FIS Presentation How To Guidelines”  </a:t>
            </a:r>
          </a:p>
          <a:p>
            <a:endParaRPr lang="en-US" sz="2133" baseline="0" dirty="0">
              <a:solidFill>
                <a:srgbClr val="FFFFFF"/>
              </a:solidFill>
            </a:endParaRPr>
          </a:p>
          <a:p>
            <a:r>
              <a:rPr lang="en-US" sz="2133" i="1" baseline="0" dirty="0">
                <a:solidFill>
                  <a:srgbClr val="FFFFFF"/>
                </a:solidFill>
              </a:rPr>
              <a:t>Note: you will be able to pull the charts and graphs into a 16x9 presentation with no loss of information or resolution. Do not  drag a 4x3 slide into a 16x9  presentation. You will need to copy the element you wish to use (a graph) from the 4x3 presentation and paste it into your 16x9 presentation.</a:t>
            </a:r>
          </a:p>
          <a:p>
            <a:endParaRPr lang="en-US" sz="2133" i="1" baseline="0" dirty="0">
              <a:solidFill>
                <a:srgbClr val="FFFFFF"/>
              </a:solidFill>
            </a:endParaRPr>
          </a:p>
          <a:p>
            <a:endParaRPr lang="en-US" sz="2133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85485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061" y="365125"/>
            <a:ext cx="8917692" cy="77046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57529D5E-D8C1-DC4B-B39F-80D6A4FF1D6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BA720-71EE-F14B-8D81-474F20975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92358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4998834" cy="81535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1243877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4B415612-36AF-5A46-B2B0-2656E2FBA8B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CBFD0D0-83B0-B842-A768-FD8132474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92084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A028BF-DA61-4CD2-94AE-D1B96B4F0B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4998834" cy="81535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1243877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4B415612-36AF-5A46-B2B0-2656E2FBA8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CBFD0D0-83B0-B842-A768-FD8132474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44642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A028BF-DA61-4CD2-94AE-D1B96B4F0B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4B415612-36AF-5A46-B2B0-2656E2FBA8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CBFD0D0-83B0-B842-A768-FD8132474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14279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46E31AA-EA2B-4817-988B-EE8DA80F58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9732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5C8CD8A-5162-4C5A-BE19-25DBB3719234}"/>
              </a:ext>
            </a:extLst>
          </p:cNvPr>
          <p:cNvSpPr/>
          <p:nvPr/>
        </p:nvSpPr>
        <p:spPr>
          <a:xfrm flipH="1">
            <a:off x="0" y="1242391"/>
            <a:ext cx="12192000" cy="561560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478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5061578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3061" y="1134577"/>
            <a:ext cx="10515600" cy="435133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6" indent="0"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12" indent="0"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F7DE63C-F9ED-4DD5-A074-EEDF7B9BC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E757F4A-DA4C-BD45-9E90-1CE2FFAF8019}"/>
              </a:ext>
            </a:extLst>
          </p:cNvPr>
          <p:cNvCxnSpPr>
            <a:cxnSpLocks/>
          </p:cNvCxnSpPr>
          <p:nvPr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E3082F16-8D94-D046-B2E6-8939B97881B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9047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3767053" cy="790216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3061" y="1443336"/>
            <a:ext cx="10515600" cy="435133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6" indent="0"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12" indent="0"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B4E94F9-6C1C-EF4B-B910-7281EBA0AF64}"/>
              </a:ext>
            </a:extLst>
          </p:cNvPr>
          <p:cNvCxnSpPr>
            <a:cxnSpLocks/>
          </p:cNvCxnSpPr>
          <p:nvPr/>
        </p:nvCxnSpPr>
        <p:spPr>
          <a:xfrm>
            <a:off x="413061" y="1243877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50FC9D-27B9-AC44-B278-23FE00360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78876494-4BC4-F448-BF27-44C4A2AB4A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88691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36D22B4-2B9D-4506-AC16-AFDDAD023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1" y="365125"/>
            <a:ext cx="7636001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1C8A7F-E8CC-4DC5-8A49-9719E53284DB}"/>
              </a:ext>
            </a:extLst>
          </p:cNvPr>
          <p:cNvSpPr txBox="1">
            <a:spLocks/>
          </p:cNvSpPr>
          <p:nvPr/>
        </p:nvSpPr>
        <p:spPr>
          <a:xfrm>
            <a:off x="402336" y="912680"/>
            <a:ext cx="6862064" cy="33169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82588" marR="0" indent="-241294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23882" marR="0" indent="-241294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80000"/>
              <a:buFont typeface="Symbol" panose="05050102010706020507" pitchFamily="18" charset="2"/>
              <a:buChar char="·"/>
              <a:tabLst/>
              <a:defRPr sz="14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36063" marR="0" indent="-239178" algn="l" defTabSz="12191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5240" marR="0" indent="-239178" algn="l" defTabSz="12191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•"/>
              <a:tabLst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9988" indent="-239994" algn="l" defTabSz="609585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87668" rtl="0" eaLnBrk="1" fontAlgn="auto" latinLnBrk="0" hangingPunct="1">
              <a:lnSpc>
                <a:spcPct val="90000"/>
              </a:lnSpc>
              <a:spcBef>
                <a:spcPts val="6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F816C8C-27D6-4FC6-9CCD-2905770F012C}"/>
              </a:ext>
            </a:extLst>
          </p:cNvPr>
          <p:cNvSpPr txBox="1">
            <a:spLocks/>
          </p:cNvSpPr>
          <p:nvPr/>
        </p:nvSpPr>
        <p:spPr>
          <a:xfrm>
            <a:off x="356936" y="1638260"/>
            <a:ext cx="11316507" cy="270414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•"/>
              <a:tabLst/>
              <a:defRPr sz="1867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82588" marR="0" indent="-241294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23882" marR="0" indent="-241294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80000"/>
              <a:buFont typeface="Symbol" panose="05050102010706020507" pitchFamily="18" charset="2"/>
              <a:buChar char="·"/>
              <a:tabLst/>
              <a:defRPr sz="14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36063" marR="0" indent="-239178" algn="l" defTabSz="12191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5240" marR="0" indent="-239178" algn="l" defTabSz="12191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•"/>
              <a:tabLst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9988" indent="-239994" algn="l" defTabSz="609585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6031" marR="0" lvl="0" indent="0" algn="l" defTabSz="609612" rtl="0" eaLnBrk="1" fontAlgn="auto" latinLnBrk="0" hangingPunct="1">
              <a:lnSpc>
                <a:spcPct val="90000"/>
              </a:lnSpc>
              <a:spcBef>
                <a:spcPts val="6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i-FI" sz="1867" kern="1200" noProof="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</a:t>
            </a:r>
            <a:r>
              <a:rPr lang="fi-FI" sz="1867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o </a:t>
            </a:r>
            <a:r>
              <a:rPr lang="fi-FI" sz="1867" kern="1200" noProof="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it</a:t>
            </a:r>
            <a:r>
              <a:rPr lang="fi-FI" sz="1867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ster </a:t>
            </a:r>
            <a:r>
              <a:rPr lang="fi-FI" sz="1867" kern="1200" noProof="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</a:t>
            </a:r>
            <a:r>
              <a:rPr lang="fi-FI" sz="1867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fi-FI" sz="1867" kern="1200" noProof="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yles</a:t>
            </a:r>
            <a:endParaRPr lang="fi-FI" sz="1867" kern="1200" noProof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D138D38-9395-4634-8E2D-2755819B928A}"/>
              </a:ext>
            </a:extLst>
          </p:cNvPr>
          <p:cNvCxnSpPr>
            <a:cxnSpLocks/>
          </p:cNvCxnSpPr>
          <p:nvPr/>
        </p:nvCxnSpPr>
        <p:spPr>
          <a:xfrm>
            <a:off x="413061" y="1364530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B80E56-71E9-0345-B51C-DADC63255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F91A5837-690A-0048-8C48-73C3F8C6F28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28405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21472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007603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subtitle and content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833034"/>
            <a:ext cx="11137644" cy="433440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47564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BEEC4997-A4E8-C345-8096-B748CFAD5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73" y="10160"/>
            <a:ext cx="1218522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 userDrawn="1"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8FDF346-94D7-5449-849E-1911D6F61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03255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Background pattern&#10;&#10;Description automatically generated">
            <a:extLst>
              <a:ext uri="{FF2B5EF4-FFF2-40B4-BE49-F238E27FC236}">
                <a16:creationId xmlns:a16="http://schemas.microsoft.com/office/drawing/2014/main" id="{35F4B0C8-9AF5-844E-B5B0-BFA4641D23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73" y="10160"/>
            <a:ext cx="1218522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 userDrawn="1"/>
        </p:nvCxnSpPr>
        <p:spPr>
          <a:xfrm>
            <a:off x="413061" y="12161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00BF059-7FF5-644F-962F-5C5EB72D5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80822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hydrozoan, night sky&#10;&#10;Description automatically generated">
            <a:extLst>
              <a:ext uri="{FF2B5EF4-FFF2-40B4-BE49-F238E27FC236}">
                <a16:creationId xmlns:a16="http://schemas.microsoft.com/office/drawing/2014/main" id="{8A11EA45-B10D-9842-B4C1-36BAB4BF02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6" y="0"/>
            <a:ext cx="1219273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BC7A13C-43E9-9145-AAF1-8A4E52E5C0B2}"/>
              </a:ext>
            </a:extLst>
          </p:cNvPr>
          <p:cNvCxnSpPr>
            <a:cxnSpLocks/>
          </p:cNvCxnSpPr>
          <p:nvPr userDrawn="1"/>
        </p:nvCxnSpPr>
        <p:spPr>
          <a:xfrm>
            <a:off x="413061" y="123410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28067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hydrozoan, night sky&#10;&#10;Description automatically generated">
            <a:extLst>
              <a:ext uri="{FF2B5EF4-FFF2-40B4-BE49-F238E27FC236}">
                <a16:creationId xmlns:a16="http://schemas.microsoft.com/office/drawing/2014/main" id="{8A11EA45-B10D-9842-B4C1-36BAB4BF02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36" y="0"/>
            <a:ext cx="1219347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 userDrawn="1"/>
        </p:nvCxnSpPr>
        <p:spPr>
          <a:xfrm>
            <a:off x="413061" y="91136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4506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29593D7-2A06-5743-8AC2-C179CE741D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061" y="365125"/>
            <a:ext cx="8917692" cy="44550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DA2BA-F321-4886-BBB5-3BC07C6A6445}"/>
              </a:ext>
            </a:extLst>
          </p:cNvPr>
          <p:cNvCxnSpPr>
            <a:cxnSpLocks/>
          </p:cNvCxnSpPr>
          <p:nvPr userDrawn="1"/>
        </p:nvCxnSpPr>
        <p:spPr>
          <a:xfrm>
            <a:off x="413061" y="1234108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537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153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CD068-2F4C-4FE6-997B-D57A24298C71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308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B18F6-34D2-478C-AD01-BDFAAF8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921861-A570-44DD-88E1-276E795022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0C7ED8-F6B8-485F-86E5-D0205EE01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CD068-2F4C-4FE6-997B-D57A24298C71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F50A0-85D7-47B7-A4CE-A5094CC8D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63354-3E7A-4B84-8BDD-06B7B7876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4723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ark Title with subtitle and content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833034"/>
            <a:ext cx="11137644" cy="38664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580168C-E843-9A4E-A785-8D104F427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4344" y="6503424"/>
            <a:ext cx="624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2346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5353" y="3852129"/>
            <a:ext cx="7438944" cy="893345"/>
          </a:xfrm>
        </p:spPr>
        <p:txBody>
          <a:bodyPr anchor="b" anchorCtr="0">
            <a:noAutofit/>
          </a:bodyPr>
          <a:lstStyle>
            <a:lvl1pPr algn="l">
              <a:defRPr sz="2133" spc="-133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i-FI" dirty="0"/>
              <a:t>Presentation title testing length over imag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5355" y="4961176"/>
            <a:ext cx="6171197" cy="6886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67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15353" y="6057515"/>
            <a:ext cx="3777600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rgbClr val="8DC63F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6671" y="5783023"/>
            <a:ext cx="624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29386048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0A7C3BF-2194-4E99-99E8-0547731D5B28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0">
                <a:srgbClr val="127B9A"/>
              </a:gs>
              <a:gs pos="100000">
                <a:srgbClr val="285BC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C8CD8A-5162-4C5A-BE19-25DBB3719234}"/>
              </a:ext>
            </a:extLst>
          </p:cNvPr>
          <p:cNvSpPr/>
          <p:nvPr userDrawn="1"/>
        </p:nvSpPr>
        <p:spPr>
          <a:xfrm flipH="1">
            <a:off x="6095999" y="0"/>
            <a:ext cx="6095999" cy="6858000"/>
          </a:xfrm>
          <a:prstGeom prst="rect">
            <a:avLst/>
          </a:prstGeom>
          <a:blipFill dpi="0" rotWithShape="1">
            <a:blip r:embed="rId2" cstate="screen">
              <a:alphaModFix amt="1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B0F1157-4024-8F4F-B6AC-5E532CDC72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61" y="6231890"/>
            <a:ext cx="814388" cy="36195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1745E0-9D7F-0744-93BA-994CBD15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9713" y="6424563"/>
            <a:ext cx="35618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071F485-D378-481A-8A06-6E0E97F64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1" y="365125"/>
            <a:ext cx="4998834" cy="81535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243834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en-US" sz="2800" b="1" i="0" kern="1200" cap="all" baseline="0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E1E161C-28F4-459D-B657-297105543772}"/>
              </a:ext>
            </a:extLst>
          </p:cNvPr>
          <p:cNvCxnSpPr>
            <a:cxnSpLocks/>
          </p:cNvCxnSpPr>
          <p:nvPr userDrawn="1"/>
        </p:nvCxnSpPr>
        <p:spPr>
          <a:xfrm>
            <a:off x="413061" y="1243877"/>
            <a:ext cx="383094" cy="0"/>
          </a:xfrm>
          <a:prstGeom prst="line">
            <a:avLst/>
          </a:prstGeom>
          <a:ln w="34925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90414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337150"/>
            <a:ext cx="8016000" cy="3369607"/>
          </a:xfrm>
        </p:spPr>
        <p:txBody>
          <a:bodyPr anchor="b" anchorCtr="0">
            <a:noAutofit/>
          </a:bodyPr>
          <a:lstStyle>
            <a:lvl1pPr marL="0" algn="l" defTabSz="609585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7333" b="0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5202077"/>
            <a:ext cx="8016000" cy="959811"/>
          </a:xfrm>
        </p:spPr>
        <p:txBody>
          <a:bodyPr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2133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/>
        </p:nvCxnSpPr>
        <p:spPr>
          <a:xfrm>
            <a:off x="510118" y="4939333"/>
            <a:ext cx="101872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11" y="449075"/>
            <a:ext cx="1383405" cy="494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842812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7"/>
            <a:ext cx="11137644" cy="42874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37395769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4"/>
            <a:ext cx="11148483" cy="414913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625601"/>
            <a:ext cx="11137644" cy="4343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6225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2026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FE9A9-D9C9-4FA5-8541-0EDD102BDE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1A7ED0-2EBB-43C1-A0D7-C599F8D3A7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92213B-2A45-4C67-804C-1DD288CDB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6F5DB7-3A39-4C64-B927-0C9E7BA59A70}" type="datetimeFigureOut">
              <a:rPr lang="en-US" smtClean="0"/>
              <a:t>9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5F4CA7-B78C-43C9-9FEE-829CD191D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3F1529-463E-4FEE-90A7-8AFC75FBE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8FBA84-330F-42E9-8699-01F08A07AF4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3666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4287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29109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2588" y="1794077"/>
            <a:ext cx="5821443" cy="2640905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fi-FI" dirty="0" err="1"/>
              <a:t>Transition</a:t>
            </a:r>
            <a:r>
              <a:rPr lang="fi-FI" dirty="0"/>
              <a:t> </a:t>
            </a:r>
            <a:r>
              <a:rPr lang="fi-FI" dirty="0" err="1"/>
              <a:t>Slide</a:t>
            </a:r>
            <a:r>
              <a:rPr lang="fi-FI" dirty="0"/>
              <a:t> 1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2588" y="4653025"/>
            <a:ext cx="5821363" cy="428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00565B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82588" y="5080765"/>
            <a:ext cx="5821363" cy="4524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en-US"/>
              <a:t>Pres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975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32" name="Picture 8" descr="C:\Users\e1031437\Desktop\ELLYN APPROVED\shutterstock_7808232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6" t="16981" r="6287" b="16121"/>
          <a:stretch/>
        </p:blipFill>
        <p:spPr bwMode="auto">
          <a:xfrm>
            <a:off x="-1" y="1175657"/>
            <a:ext cx="12192001" cy="463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2386940"/>
            <a:ext cx="12192000" cy="1964669"/>
          </a:xfrm>
          <a:prstGeom prst="rect">
            <a:avLst/>
          </a:prstGeom>
          <a:gradFill>
            <a:gsLst>
              <a:gs pos="50000">
                <a:srgbClr val="007E80"/>
              </a:gs>
              <a:gs pos="100000">
                <a:srgbClr val="72246C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471" y="2694955"/>
            <a:ext cx="8085605" cy="104200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3813" y="3677583"/>
            <a:ext cx="6409825" cy="64006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baseline="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,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4349629"/>
            <a:ext cx="12192000" cy="560120"/>
          </a:xfrm>
          <a:prstGeom prst="rect">
            <a:avLst/>
          </a:prstGeom>
          <a:gradFill>
            <a:gsLst>
              <a:gs pos="50000">
                <a:srgbClr val="642566"/>
              </a:gs>
              <a:gs pos="100000">
                <a:srgbClr val="8DC63F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Subtitle 2"/>
          <p:cNvSpPr txBox="1">
            <a:spLocks/>
          </p:cNvSpPr>
          <p:nvPr/>
        </p:nvSpPr>
        <p:spPr bwMode="auto">
          <a:xfrm>
            <a:off x="713673" y="4328747"/>
            <a:ext cx="6409825" cy="56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20000"/>
              <a:buFont typeface="Arial" charset="0"/>
              <a:buNone/>
              <a:defRPr sz="1800" b="0" kern="1200" baseline="0">
                <a:solidFill>
                  <a:srgbClr val="F3D03E"/>
                </a:solidFill>
                <a:latin typeface="+mj-lt"/>
                <a:ea typeface="+mn-ea"/>
                <a:cs typeface="Arial"/>
              </a:defRPr>
            </a:lvl1pPr>
            <a:lvl2pPr marL="4572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10000"/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/>
              </a:defRPr>
            </a:lvl2pPr>
            <a:lvl3pPr marL="9144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/>
              </a:defRPr>
            </a:lvl3pPr>
            <a:lvl4pPr marL="13716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/>
              </a:defRPr>
            </a:lvl4pPr>
            <a:lvl5pPr marL="18288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59886" y="4315983"/>
            <a:ext cx="6555316" cy="58152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937" y="318202"/>
            <a:ext cx="1678379" cy="516503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13671" y="6472802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007E80"/>
                </a:solidFill>
                <a:latin typeface="+mj-lt"/>
              </a:rPr>
              <a:t>©2014 FIS and/or its subsidiaries. All Rights Reserved.</a:t>
            </a:r>
          </a:p>
          <a:p>
            <a:r>
              <a:rPr lang="en-US" sz="800" dirty="0">
                <a:solidFill>
                  <a:srgbClr val="007E80"/>
                </a:solidFill>
                <a:latin typeface="+mj-lt"/>
                <a:cs typeface="Arial"/>
              </a:rPr>
              <a:t>FIS confidential and proprietar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419263167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1119" y="6540035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7"/>
            <a:ext cx="11137644" cy="451124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93460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927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508000" y="1378007"/>
            <a:ext cx="11074400" cy="444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768258C4-666F-437C-BCA1-7A42258BCC8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8232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927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8935098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508000" y="1378007"/>
            <a:ext cx="11074400" cy="444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0364" y="851993"/>
            <a:ext cx="11099555" cy="339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dirty="0"/>
              <a:t>Content slide with subhea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927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8383747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0364" y="851993"/>
            <a:ext cx="11099555" cy="339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dirty="0"/>
              <a:t>Content slide with subhea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927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3777030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927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508000" y="1378007"/>
            <a:ext cx="5417880" cy="444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 bwMode="auto">
          <a:xfrm>
            <a:off x="6209413" y="1378007"/>
            <a:ext cx="5372987" cy="444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93076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7E80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7015127" y="1382234"/>
            <a:ext cx="4737396" cy="443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960869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8000" y="237600"/>
            <a:ext cx="1107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927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0" hasCustomPrompt="1"/>
          </p:nvPr>
        </p:nvSpPr>
        <p:spPr>
          <a:xfrm>
            <a:off x="538348" y="1401288"/>
            <a:ext cx="10972800" cy="4750131"/>
          </a:xfrm>
          <a:prstGeom prst="rect">
            <a:avLst/>
          </a:prstGeom>
          <a:solidFill>
            <a:srgbClr val="E2E2E3"/>
          </a:solidFill>
          <a:ln>
            <a:noFill/>
          </a:ln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he film icon below to add video.</a:t>
            </a:r>
          </a:p>
        </p:txBody>
      </p:sp>
    </p:spTree>
    <p:extLst>
      <p:ext uri="{BB962C8B-B14F-4D97-AF65-F5344CB8AC3E}">
        <p14:creationId xmlns:p14="http://schemas.microsoft.com/office/powerpoint/2010/main" val="3062060902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2423" y="6541773"/>
            <a:ext cx="1256708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1"/>
                </a:solidFill>
                <a:latin typeface="+mj-lt"/>
                <a:cs typeface="Arial" charset="0"/>
              </a:defRPr>
            </a:lvl1pPr>
          </a:lstStyle>
          <a:p>
            <a:pPr>
              <a:defRPr/>
            </a:pPr>
            <a:fld id="{97682614-2917-43EC-8DD5-4144BBD4E7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67638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8" descr="C:\Users\e1031437\Desktop\ELLYN APPROVED\shutterstock_7808232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6" t="16981" r="6287" b="16121"/>
          <a:stretch/>
        </p:blipFill>
        <p:spPr bwMode="auto">
          <a:xfrm>
            <a:off x="-1" y="1175657"/>
            <a:ext cx="12192001" cy="463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0" y="2386940"/>
            <a:ext cx="12192000" cy="1964669"/>
          </a:xfrm>
          <a:prstGeom prst="rect">
            <a:avLst/>
          </a:prstGeom>
          <a:gradFill>
            <a:gsLst>
              <a:gs pos="50000">
                <a:srgbClr val="007E80"/>
              </a:gs>
              <a:gs pos="100000">
                <a:srgbClr val="72246C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Rectangle 16"/>
          <p:cNvSpPr/>
          <p:nvPr/>
        </p:nvSpPr>
        <p:spPr>
          <a:xfrm>
            <a:off x="0" y="4349629"/>
            <a:ext cx="12192000" cy="560120"/>
          </a:xfrm>
          <a:prstGeom prst="rect">
            <a:avLst/>
          </a:prstGeom>
          <a:gradFill>
            <a:gsLst>
              <a:gs pos="50000">
                <a:srgbClr val="642566"/>
              </a:gs>
              <a:gs pos="100000">
                <a:srgbClr val="8DC63F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713672" y="2327271"/>
            <a:ext cx="8085605" cy="104200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3673" y="3316430"/>
            <a:ext cx="6409825" cy="1033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baseline="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E-mail address</a:t>
            </a:r>
          </a:p>
          <a:p>
            <a:r>
              <a:rPr lang="en-US" dirty="0"/>
              <a:t>Telephone number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937" y="318202"/>
            <a:ext cx="1678379" cy="51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28128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 Tex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E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828675"/>
            <a:ext cx="10972800" cy="46045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fringilla</a:t>
            </a:r>
            <a:r>
              <a:rPr lang="en-US" dirty="0"/>
              <a:t> ante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fringilla</a:t>
            </a:r>
            <a:r>
              <a:rPr lang="en-US" dirty="0"/>
              <a:t>. </a:t>
            </a:r>
            <a:r>
              <a:rPr lang="en-US" dirty="0" err="1"/>
              <a:t>Cras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</a:t>
            </a:r>
            <a:r>
              <a:rPr lang="en-US" dirty="0" err="1"/>
              <a:t>conval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,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pharetra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5199066"/>
            <a:ext cx="5713228" cy="638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i="1" baseline="0">
                <a:solidFill>
                  <a:schemeClr val="bg1"/>
                </a:solidFill>
              </a:defRPr>
            </a:lvl1pPr>
            <a:lvl2pPr marL="169858" indent="0">
              <a:buNone/>
              <a:defRPr>
                <a:solidFill>
                  <a:schemeClr val="bg1"/>
                </a:solidFill>
              </a:defRPr>
            </a:lvl2pPr>
            <a:lvl3pPr marL="396865" indent="0">
              <a:buNone/>
              <a:defRPr>
                <a:solidFill>
                  <a:schemeClr val="bg1"/>
                </a:solidFill>
              </a:defRPr>
            </a:lvl3pPr>
            <a:lvl4pPr marL="509574" indent="0">
              <a:buNone/>
              <a:defRPr>
                <a:solidFill>
                  <a:schemeClr val="bg1"/>
                </a:solidFill>
              </a:defRPr>
            </a:lvl4pPr>
            <a:lvl5pPr marL="68102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itation, if required</a:t>
            </a:r>
          </a:p>
        </p:txBody>
      </p:sp>
    </p:spTree>
    <p:extLst>
      <p:ext uri="{BB962C8B-B14F-4D97-AF65-F5344CB8AC3E}">
        <p14:creationId xmlns:p14="http://schemas.microsoft.com/office/powerpoint/2010/main" val="33056611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 and content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833034"/>
            <a:ext cx="11137644" cy="433440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24358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5" name="Picture 8" descr="C:\Users\e1031437\Desktop\ELLYN APPROVED\shutterstock_7808232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6" t="16981" r="6287" b="16121"/>
          <a:stretch/>
        </p:blipFill>
        <p:spPr bwMode="auto">
          <a:xfrm>
            <a:off x="-1" y="1175657"/>
            <a:ext cx="12192001" cy="463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2386940"/>
            <a:ext cx="12192000" cy="1964669"/>
          </a:xfrm>
          <a:prstGeom prst="rect">
            <a:avLst/>
          </a:prstGeom>
          <a:gradFill>
            <a:gsLst>
              <a:gs pos="50000">
                <a:srgbClr val="007E80"/>
              </a:gs>
              <a:gs pos="100000">
                <a:srgbClr val="72246C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/>
          <p:cNvSpPr/>
          <p:nvPr/>
        </p:nvSpPr>
        <p:spPr>
          <a:xfrm>
            <a:off x="0" y="4349629"/>
            <a:ext cx="12192000" cy="560120"/>
          </a:xfrm>
          <a:prstGeom prst="rect">
            <a:avLst/>
          </a:prstGeom>
          <a:gradFill>
            <a:gsLst>
              <a:gs pos="50000">
                <a:srgbClr val="642566"/>
              </a:gs>
              <a:gs pos="100000">
                <a:srgbClr val="8DC63F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937" y="318202"/>
            <a:ext cx="1678379" cy="51650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13672" y="2753272"/>
            <a:ext cx="8085605" cy="104200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ransition Slid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2" name="Picture 8" descr="C:\Users\e1031437\Desktop\ELLYN APPROVED\shutterstock_78082324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6" t="16981" r="6287" b="16121"/>
          <a:stretch/>
        </p:blipFill>
        <p:spPr bwMode="auto">
          <a:xfrm>
            <a:off x="-1" y="1175657"/>
            <a:ext cx="12192001" cy="463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0" y="2386940"/>
            <a:ext cx="12192000" cy="1964669"/>
          </a:xfrm>
          <a:prstGeom prst="rect">
            <a:avLst/>
          </a:prstGeom>
          <a:gradFill>
            <a:gsLst>
              <a:gs pos="50000">
                <a:srgbClr val="007E80"/>
              </a:gs>
              <a:gs pos="100000">
                <a:srgbClr val="72246C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4349629"/>
            <a:ext cx="12192000" cy="560120"/>
          </a:xfrm>
          <a:prstGeom prst="rect">
            <a:avLst/>
          </a:prstGeom>
          <a:gradFill>
            <a:gsLst>
              <a:gs pos="50000">
                <a:srgbClr val="642566"/>
              </a:gs>
              <a:gs pos="100000">
                <a:srgbClr val="8DC63F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937" y="318202"/>
            <a:ext cx="1678379" cy="51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7584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09236" y="3783256"/>
            <a:ext cx="6502400" cy="120276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accent1"/>
                </a:solidFill>
                <a:latin typeface="Calibri" pitchFamily="34" charset="0"/>
                <a:cs typeface="Calibri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</a:t>
            </a:r>
            <a:r>
              <a:rPr lang="en-US"/>
              <a:t>to Edit </a:t>
            </a:r>
            <a:r>
              <a:rPr lang="en-US" dirty="0"/>
              <a:t>Subtitle if Required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609236" y="2764257"/>
            <a:ext cx="6502400" cy="100884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rgbClr val="222222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41920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75200" y="4318004"/>
            <a:ext cx="6502400" cy="1008841"/>
          </a:xfrm>
        </p:spPr>
        <p:txBody>
          <a:bodyPr anchor="b">
            <a:normAutofit/>
          </a:bodyPr>
          <a:lstStyle>
            <a:lvl1pPr algn="l">
              <a:defRPr sz="2400">
                <a:solidFill>
                  <a:srgbClr val="58646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75200" y="5326844"/>
            <a:ext cx="6502400" cy="120276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3453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al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409709"/>
            <a:ext cx="8016000" cy="1833019"/>
          </a:xfrm>
        </p:spPr>
        <p:txBody>
          <a:bodyPr anchor="b" anchorCtr="0">
            <a:noAutofit/>
          </a:bodyPr>
          <a:lstStyle>
            <a:lvl1pPr>
              <a:defRPr sz="6667" spc="-133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3376675"/>
            <a:ext cx="8016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67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508800" y="5796876"/>
            <a:ext cx="3777600" cy="2880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0117" y="5512859"/>
            <a:ext cx="624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7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0730" y="5366495"/>
            <a:ext cx="3206569" cy="73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6838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divide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2" y="2626669"/>
            <a:ext cx="12193657" cy="1237129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600" b="1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4458" y="2958362"/>
            <a:ext cx="11320889" cy="573743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7988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11" y="1833038"/>
            <a:ext cx="11137644" cy="43344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30008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7"/>
            <a:ext cx="11137644" cy="4511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0A1212-5057-4C6D-803E-8ED05516A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2639C07-5901-4A98-B2CC-7B8AE010D8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4344" y="6435825"/>
            <a:ext cx="624000" cy="180000"/>
          </a:xfrm>
          <a:prstGeom prst="rect">
            <a:avLst/>
          </a:prstGeom>
        </p:spPr>
        <p:txBody>
          <a:bodyPr vert="horz" lIns="4572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25399"/>
            <a:fld id="{81D60167-4931-47E6-BA6A-407CBD079E47}" type="slidenum">
              <a:rPr lang="en-US" smtClean="0"/>
              <a:pPr marL="25399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7653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337151"/>
            <a:ext cx="8016000" cy="3369607"/>
          </a:xfrm>
        </p:spPr>
        <p:txBody>
          <a:bodyPr anchor="b" anchorCtr="0">
            <a:noAutofit/>
          </a:bodyPr>
          <a:lstStyle>
            <a:lvl1pPr marL="0" algn="l" defTabSz="60957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7333" b="0" i="0" u="none" kern="1200" cap="all" baseline="0" dirty="0">
                <a:solidFill>
                  <a:schemeClr val="bg1"/>
                </a:solidFill>
                <a:latin typeface="Arial Black" panose="020B0A04020102090204" pitchFamily="34" charset="0"/>
                <a:ea typeface="+mj-ea"/>
                <a:cs typeface="Arial Black" panose="020B0A0402010209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5202077"/>
            <a:ext cx="8016000" cy="959811"/>
          </a:xfrm>
        </p:spPr>
        <p:txBody>
          <a:bodyPr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2133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/>
        </p:nvCxnSpPr>
        <p:spPr>
          <a:xfrm>
            <a:off x="510120" y="4939333"/>
            <a:ext cx="101872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79" y="449075"/>
            <a:ext cx="1383405" cy="494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6339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337151"/>
            <a:ext cx="8016000" cy="3369607"/>
          </a:xfrm>
        </p:spPr>
        <p:txBody>
          <a:bodyPr anchor="b" anchorCtr="0">
            <a:noAutofit/>
          </a:bodyPr>
          <a:lstStyle>
            <a:lvl1pPr marL="0" algn="l" defTabSz="60957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7333" b="0" i="0" kern="1200" cap="all" baseline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5202077"/>
            <a:ext cx="8016000" cy="959811"/>
          </a:xfrm>
        </p:spPr>
        <p:txBody>
          <a:bodyPr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2133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/>
        </p:nvCxnSpPr>
        <p:spPr>
          <a:xfrm>
            <a:off x="510120" y="4939333"/>
            <a:ext cx="101872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1FBB60A-F2DC-403D-B03B-6D948F87CE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25" y="442682"/>
            <a:ext cx="1407280" cy="50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9845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337151"/>
            <a:ext cx="8016000" cy="3369607"/>
          </a:xfrm>
        </p:spPr>
        <p:txBody>
          <a:bodyPr anchor="b" anchorCtr="0">
            <a:noAutofit/>
          </a:bodyPr>
          <a:lstStyle>
            <a:lvl1pPr marL="0" algn="l" defTabSz="60957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7333" b="0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5202077"/>
            <a:ext cx="8016000" cy="959811"/>
          </a:xfrm>
        </p:spPr>
        <p:txBody>
          <a:bodyPr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2133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/>
        </p:nvCxnSpPr>
        <p:spPr>
          <a:xfrm>
            <a:off x="510120" y="4939333"/>
            <a:ext cx="101872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12" y="449075"/>
            <a:ext cx="1383405" cy="494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003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647826"/>
            <a:ext cx="5462923" cy="450691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647826"/>
            <a:ext cx="5462400" cy="450691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7131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337151"/>
            <a:ext cx="8016000" cy="3369607"/>
          </a:xfrm>
        </p:spPr>
        <p:txBody>
          <a:bodyPr anchor="b" anchorCtr="0">
            <a:noAutofit/>
          </a:bodyPr>
          <a:lstStyle>
            <a:lvl1pPr marL="0" algn="l" defTabSz="60957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7333" b="0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5202077"/>
            <a:ext cx="8016000" cy="959811"/>
          </a:xfrm>
        </p:spPr>
        <p:txBody>
          <a:bodyPr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2133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/>
        </p:nvCxnSpPr>
        <p:spPr>
          <a:xfrm>
            <a:off x="510120" y="4939333"/>
            <a:ext cx="101872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12" y="449075"/>
            <a:ext cx="1383405" cy="494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0484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510117" y="1337151"/>
            <a:ext cx="8016000" cy="3369607"/>
          </a:xfrm>
        </p:spPr>
        <p:txBody>
          <a:bodyPr anchor="b" anchorCtr="0">
            <a:noAutofit/>
          </a:bodyPr>
          <a:lstStyle>
            <a:lvl1pPr marL="0" algn="l" defTabSz="60957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7333" b="0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10117" y="5202077"/>
            <a:ext cx="8016000" cy="959811"/>
          </a:xfrm>
        </p:spPr>
        <p:txBody>
          <a:bodyPr>
            <a:norm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2133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/>
        </p:nvCxnSpPr>
        <p:spPr>
          <a:xfrm>
            <a:off x="510120" y="4939333"/>
            <a:ext cx="101872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12" y="449075"/>
            <a:ext cx="1383405" cy="494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94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86E62A92-4FD1-4D77-82F6-84F8E0AF78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99"/>
          <a:stretch/>
        </p:blipFill>
        <p:spPr>
          <a:xfrm>
            <a:off x="6096000" y="0"/>
            <a:ext cx="6096000" cy="6172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0117" y="2736120"/>
            <a:ext cx="6561243" cy="2384521"/>
          </a:xfrm>
        </p:spPr>
        <p:txBody>
          <a:bodyPr>
            <a:noAutofit/>
          </a:bodyPr>
          <a:lstStyle>
            <a:lvl1pPr algn="l" defTabSz="4571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200" b="0" i="0" kern="1200" cap="all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0BB0C-1568-4800-B1EF-F0EC8B1101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119" y="1822639"/>
            <a:ext cx="6794500" cy="395389"/>
          </a:xfrm>
        </p:spPr>
        <p:txBody>
          <a:bodyPr>
            <a:normAutofit/>
          </a:bodyPr>
          <a:lstStyle>
            <a:lvl1pPr marL="0" indent="0">
              <a:buNone/>
              <a:defRPr sz="2133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241289" indent="0">
              <a:buNone/>
              <a:defRPr/>
            </a:lvl2pPr>
            <a:lvl3pPr marL="482576" indent="0">
              <a:buNone/>
              <a:defRPr/>
            </a:lvl3pPr>
            <a:lvl4pPr marL="596870" indent="0">
              <a:buNone/>
              <a:defRPr/>
            </a:lvl4pPr>
            <a:lvl5pPr marL="836042" indent="0">
              <a:buNone/>
              <a:defRPr/>
            </a:lvl5pPr>
          </a:lstStyle>
          <a:p>
            <a:r>
              <a:rPr lang="en-US" dirty="0"/>
              <a:t>DIVID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18E211-D3B4-41AC-820D-B39F56E3C27F}"/>
              </a:ext>
            </a:extLst>
          </p:cNvPr>
          <p:cNvCxnSpPr>
            <a:cxnSpLocks/>
          </p:cNvCxnSpPr>
          <p:nvPr/>
        </p:nvCxnSpPr>
        <p:spPr>
          <a:xfrm>
            <a:off x="510120" y="2387669"/>
            <a:ext cx="101872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6314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8"/>
            <a:ext cx="11137644" cy="42874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993833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833033"/>
            <a:ext cx="11137644" cy="4135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80350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647826"/>
            <a:ext cx="5462923" cy="43338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647826"/>
            <a:ext cx="5462400" cy="43338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806113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828801"/>
            <a:ext cx="5462923" cy="4165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828801"/>
            <a:ext cx="5462400" cy="4165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71170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41355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93871"/>
            <a:ext cx="11148483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409441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2907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828802"/>
            <a:ext cx="5462923" cy="433863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828802"/>
            <a:ext cx="5462400" cy="433863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52787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22816" y="1655767"/>
            <a:ext cx="5424000" cy="43386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6254677" y="1655766"/>
            <a:ext cx="5403667" cy="43386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122715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88EB4CA-4AA0-454B-9AC4-F89332AEE1D5}"/>
              </a:ext>
            </a:extLst>
          </p:cNvPr>
          <p:cNvSpPr txBox="1"/>
          <p:nvPr/>
        </p:nvSpPr>
        <p:spPr>
          <a:xfrm>
            <a:off x="185957" y="6377127"/>
            <a:ext cx="878517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0" i="0" dirty="0">
                <a:solidFill>
                  <a:schemeClr val="tx1"/>
                </a:solidFill>
              </a:rPr>
              <a:t>©2019 FIS and/or its subsidiaries. All Rights Reserved.</a:t>
            </a:r>
            <a:r>
              <a:rPr lang="en-US" sz="1067" b="0" i="0" baseline="0" dirty="0">
                <a:solidFill>
                  <a:schemeClr val="tx1"/>
                </a:solidFill>
              </a:rPr>
              <a:t> </a:t>
            </a:r>
            <a:r>
              <a:rPr lang="en-US" sz="1067" b="0" i="0" dirty="0">
                <a:solidFill>
                  <a:schemeClr val="tx1"/>
                </a:solidFill>
                <a:cs typeface="Arial"/>
              </a:rPr>
              <a:t>FIS confidential and proprietary information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BAA557-E5CE-49FE-AD47-FCC82C665B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227" y="2970152"/>
            <a:ext cx="2569551" cy="917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8768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B8F72E-8BD8-4870-9A96-39F944C4E9AB}"/>
              </a:ext>
            </a:extLst>
          </p:cNvPr>
          <p:cNvSpPr/>
          <p:nvPr/>
        </p:nvSpPr>
        <p:spPr bwMode="ltGray">
          <a:xfrm>
            <a:off x="0" y="1314227"/>
            <a:ext cx="4059936" cy="2308004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22FA13-40E5-4038-B08A-D0079301B18E}"/>
              </a:ext>
            </a:extLst>
          </p:cNvPr>
          <p:cNvSpPr/>
          <p:nvPr/>
        </p:nvSpPr>
        <p:spPr bwMode="ltGray">
          <a:xfrm>
            <a:off x="4066032" y="3622231"/>
            <a:ext cx="4059936" cy="2317687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1EED13-E751-4EA1-AA4B-153601689933}"/>
              </a:ext>
            </a:extLst>
          </p:cNvPr>
          <p:cNvSpPr/>
          <p:nvPr/>
        </p:nvSpPr>
        <p:spPr bwMode="ltGray">
          <a:xfrm>
            <a:off x="8132065" y="1314227"/>
            <a:ext cx="4059936" cy="2308004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2D8F4FD-8926-46ED-8D91-D202631254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1755" y="2673899"/>
            <a:ext cx="3636424" cy="661256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06ED07A-C7B5-4DD6-A7CB-A2EC481081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51523" y="2673899"/>
            <a:ext cx="3633216" cy="661256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514FB1B-8314-40B1-B683-85EC4E61F9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392" y="2673899"/>
            <a:ext cx="3633216" cy="661256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984D0D5-DEF4-4F05-95A5-0461B6BB11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1523" y="4986291"/>
            <a:ext cx="3633216" cy="661256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0691E6F1-2137-4CF5-B843-ED864F27822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79392" y="4986291"/>
            <a:ext cx="3633216" cy="661256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130BA57-3A10-4AA0-9B39-E475029419E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1755" y="4986291"/>
            <a:ext cx="3636424" cy="661256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C470DEBA-0873-48D6-8127-F1B793A376B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11755" y="1622828"/>
            <a:ext cx="3636424" cy="849093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62A82822-01BE-4B60-A2DC-4F89447157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279392" y="1622828"/>
            <a:ext cx="3633216" cy="849093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0505C07-347D-448D-BDBA-F9E6E37FA04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351523" y="1622828"/>
            <a:ext cx="3633216" cy="849093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7F0ADCFA-0E37-4E72-A92B-802E2F76B9E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279392" y="3941448"/>
            <a:ext cx="3633216" cy="849093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9D2949D-45F2-4FC7-83B9-580E9D7DE66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15277" y="3941448"/>
            <a:ext cx="3636424" cy="849093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C0184F9-6484-45EA-8221-D2ADAA67BE1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351523" y="3941448"/>
            <a:ext cx="3633216" cy="849093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3819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58602E-BBCB-48DF-99EE-078786C47972}"/>
              </a:ext>
            </a:extLst>
          </p:cNvPr>
          <p:cNvSpPr/>
          <p:nvPr/>
        </p:nvSpPr>
        <p:spPr bwMode="ltGray">
          <a:xfrm>
            <a:off x="0" y="1491272"/>
            <a:ext cx="2438400" cy="2230749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FB0C30-B683-45E3-850D-7BE22CE7C097}"/>
              </a:ext>
            </a:extLst>
          </p:cNvPr>
          <p:cNvSpPr/>
          <p:nvPr/>
        </p:nvSpPr>
        <p:spPr bwMode="ltGray">
          <a:xfrm>
            <a:off x="4872181" y="1491272"/>
            <a:ext cx="2438400" cy="2230749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5E4872A-3124-4E10-BDD2-546F034FDA70}"/>
              </a:ext>
            </a:extLst>
          </p:cNvPr>
          <p:cNvSpPr/>
          <p:nvPr/>
        </p:nvSpPr>
        <p:spPr bwMode="ltGray">
          <a:xfrm>
            <a:off x="9736542" y="1491272"/>
            <a:ext cx="2450841" cy="2230749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CCB1E9-0C00-40FF-A39C-E20EC0310787}"/>
              </a:ext>
            </a:extLst>
          </p:cNvPr>
          <p:cNvSpPr/>
          <p:nvPr/>
        </p:nvSpPr>
        <p:spPr bwMode="ltGray">
          <a:xfrm>
            <a:off x="2432083" y="3722023"/>
            <a:ext cx="2438400" cy="2230749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8A56E3E-3DF0-4903-B77C-E0E91E669682}"/>
              </a:ext>
            </a:extLst>
          </p:cNvPr>
          <p:cNvSpPr/>
          <p:nvPr/>
        </p:nvSpPr>
        <p:spPr bwMode="ltGray">
          <a:xfrm>
            <a:off x="7298140" y="3722023"/>
            <a:ext cx="2438400" cy="2230749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F4093F-C7E2-4081-B7DE-F1C484860368}"/>
              </a:ext>
            </a:extLst>
          </p:cNvPr>
          <p:cNvSpPr/>
          <p:nvPr/>
        </p:nvSpPr>
        <p:spPr>
          <a:xfrm>
            <a:off x="9736542" y="3673254"/>
            <a:ext cx="2450841" cy="2279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8689FF4-41FB-461B-8FAB-B51AC8F32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8756" y="1732617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AF64701-46A3-4B5B-ADF5-4A9BB90BD6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67253" y="1732617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6AD7556A-C724-4F8E-9702-61BFD594B1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39742" y="1732617"/>
            <a:ext cx="2044441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58F8CE21-919F-4707-AD2C-7F48DB9ABA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27155" y="3966291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DDE5E97C-30A6-4B33-B978-105A0EE9A1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98931" y="3966291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563923C1-A0D9-44C8-8F6F-32526E7F7A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27155" y="1732617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D2D4CA5C-3495-4C2C-8E9A-16CFB3F6BC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98931" y="1732617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BB84D64E-61DA-4CC5-80B8-4648F13AFD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7253" y="3966291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3FBA56D4-C208-4129-948E-11AF074F4D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39742" y="3966291"/>
            <a:ext cx="2044441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907C351-9ABB-4D00-98D7-C8EEE45DEA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8756" y="3966291"/>
            <a:ext cx="2048256" cy="1717215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0906011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58D3A2F-91E7-466F-B735-D49123052215}"/>
              </a:ext>
            </a:extLst>
          </p:cNvPr>
          <p:cNvSpPr/>
          <p:nvPr/>
        </p:nvSpPr>
        <p:spPr bwMode="ltGray">
          <a:xfrm>
            <a:off x="0" y="1299757"/>
            <a:ext cx="2438400" cy="277525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CA128E-575E-4E48-A2BD-A2D6837FFE9C}"/>
              </a:ext>
            </a:extLst>
          </p:cNvPr>
          <p:cNvSpPr/>
          <p:nvPr/>
        </p:nvSpPr>
        <p:spPr bwMode="ltGray">
          <a:xfrm>
            <a:off x="4876800" y="1299757"/>
            <a:ext cx="2438400" cy="277525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391657-195D-46FE-80AB-C9D04B47D1BF}"/>
              </a:ext>
            </a:extLst>
          </p:cNvPr>
          <p:cNvSpPr/>
          <p:nvPr/>
        </p:nvSpPr>
        <p:spPr bwMode="ltGray">
          <a:xfrm>
            <a:off x="9753600" y="1299757"/>
            <a:ext cx="2438400" cy="277525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7665E5-8F06-4576-A118-058A30607939}"/>
              </a:ext>
            </a:extLst>
          </p:cNvPr>
          <p:cNvSpPr/>
          <p:nvPr/>
        </p:nvSpPr>
        <p:spPr bwMode="ltGray">
          <a:xfrm>
            <a:off x="0" y="4296051"/>
            <a:ext cx="12192000" cy="16634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ED8F16E-47DB-4062-BC8A-FC8460EC2E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5072" y="1416279"/>
            <a:ext cx="2048256" cy="2535432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C353966-E92D-4F39-A274-65656295D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1872" y="1416279"/>
            <a:ext cx="2048256" cy="2535432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E2B2D0B-832D-4E0E-A99F-ABB4468433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48672" y="1416279"/>
            <a:ext cx="2048256" cy="2535432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A90B2AC-615F-4025-BC55-96931C68A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33472" y="1417655"/>
            <a:ext cx="2048256" cy="2535432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5F97208-2C9C-4CCE-ABFF-912655E3EB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10272" y="1417655"/>
            <a:ext cx="2048256" cy="2535432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867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BC22221-E09A-4164-8C8E-FA38BBE6CB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688" y="4432723"/>
            <a:ext cx="11096624" cy="1402928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  <a:latin typeface="+mn-lt"/>
                <a:cs typeface="Foundry Context Demi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093150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F0880C9-185E-4D88-A88F-175FF8B7B830}"/>
              </a:ext>
            </a:extLst>
          </p:cNvPr>
          <p:cNvSpPr/>
          <p:nvPr/>
        </p:nvSpPr>
        <p:spPr bwMode="ltGray">
          <a:xfrm>
            <a:off x="-11759" y="1503202"/>
            <a:ext cx="3048000" cy="4451953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626813-6429-405A-94A1-86E5569A2C80}"/>
              </a:ext>
            </a:extLst>
          </p:cNvPr>
          <p:cNvSpPr/>
          <p:nvPr/>
        </p:nvSpPr>
        <p:spPr bwMode="ltGray">
          <a:xfrm>
            <a:off x="6084241" y="1503202"/>
            <a:ext cx="3048000" cy="4451953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>
              <a:latin typeface="+mn-lt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0EE129-9A79-4713-843A-E53E070DB7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6239" y="3890004"/>
            <a:ext cx="2560320" cy="1861949"/>
          </a:xfrm>
        </p:spPr>
        <p:txBody>
          <a:bodyPr tIns="0" rIns="0" bIns="0"/>
          <a:lstStyle>
            <a:lvl1pPr marL="0" indent="0">
              <a:buNone/>
              <a:defRPr sz="1467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304784" indent="0">
              <a:buNone/>
              <a:defRPr sz="1867">
                <a:solidFill>
                  <a:schemeClr val="bg1"/>
                </a:solidFill>
              </a:defRPr>
            </a:lvl2pPr>
            <a:lvl3pPr marL="609570" indent="0">
              <a:buNone/>
              <a:defRPr sz="1600">
                <a:solidFill>
                  <a:schemeClr val="bg1"/>
                </a:solidFill>
              </a:defRPr>
            </a:lvl3pPr>
            <a:lvl4pPr marL="914354" indent="0">
              <a:buNone/>
              <a:defRPr sz="1467">
                <a:solidFill>
                  <a:schemeClr val="bg1"/>
                </a:solidFill>
              </a:defRPr>
            </a:lvl4pPr>
            <a:lvl5pPr marL="1219140" indent="0"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E4881F3-5AA1-464E-9135-190BFCA8EC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73384" y="3890003"/>
            <a:ext cx="2560320" cy="1861948"/>
          </a:xfrm>
        </p:spPr>
        <p:txBody>
          <a:bodyPr tIns="0" rIns="0" bIns="0"/>
          <a:lstStyle>
            <a:lvl1pPr marL="0" indent="0">
              <a:buNone/>
              <a:defRPr sz="1467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304784" indent="0">
              <a:buNone/>
              <a:defRPr sz="1867">
                <a:solidFill>
                  <a:schemeClr val="bg1"/>
                </a:solidFill>
              </a:defRPr>
            </a:lvl2pPr>
            <a:lvl3pPr marL="609570" indent="0">
              <a:buNone/>
              <a:defRPr sz="1600">
                <a:solidFill>
                  <a:schemeClr val="bg1"/>
                </a:solidFill>
              </a:defRPr>
            </a:lvl3pPr>
            <a:lvl4pPr marL="914354" indent="0">
              <a:buNone/>
              <a:defRPr sz="1467">
                <a:solidFill>
                  <a:schemeClr val="bg1"/>
                </a:solidFill>
              </a:defRPr>
            </a:lvl4pPr>
            <a:lvl5pPr marL="1219140" indent="0"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C2D9B90-B133-4CF7-A1CA-DBA3B58DD6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22916" y="3890003"/>
            <a:ext cx="2560320" cy="1861948"/>
          </a:xfrm>
        </p:spPr>
        <p:txBody>
          <a:bodyPr tIns="0" rIns="0" bIns="0"/>
          <a:lstStyle>
            <a:lvl1pPr marL="0" indent="0">
              <a:buNone/>
              <a:defRPr sz="1467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304784" indent="0">
              <a:buNone/>
              <a:defRPr sz="1867">
                <a:solidFill>
                  <a:schemeClr val="bg1"/>
                </a:solidFill>
              </a:defRPr>
            </a:lvl2pPr>
            <a:lvl3pPr marL="609570" indent="0">
              <a:buNone/>
              <a:defRPr sz="1600">
                <a:solidFill>
                  <a:schemeClr val="bg1"/>
                </a:solidFill>
              </a:defRPr>
            </a:lvl3pPr>
            <a:lvl4pPr marL="914354" indent="0">
              <a:buNone/>
              <a:defRPr sz="1467">
                <a:solidFill>
                  <a:schemeClr val="bg1"/>
                </a:solidFill>
              </a:defRPr>
            </a:lvl4pPr>
            <a:lvl5pPr marL="1219140" indent="0"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F9E015-A047-4E97-895B-6CCED96E5E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88456" y="3890003"/>
            <a:ext cx="2560320" cy="1861948"/>
          </a:xfrm>
        </p:spPr>
        <p:txBody>
          <a:bodyPr tIns="0" rIns="0" bIns="0"/>
          <a:lstStyle>
            <a:lvl1pPr marL="0" indent="0">
              <a:buNone/>
              <a:defRPr sz="1467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304784" indent="0">
              <a:buNone/>
              <a:defRPr sz="1867">
                <a:solidFill>
                  <a:schemeClr val="bg1"/>
                </a:solidFill>
              </a:defRPr>
            </a:lvl2pPr>
            <a:lvl3pPr marL="609570" indent="0">
              <a:buNone/>
              <a:defRPr sz="1600">
                <a:solidFill>
                  <a:schemeClr val="bg1"/>
                </a:solidFill>
              </a:defRPr>
            </a:lvl3pPr>
            <a:lvl4pPr marL="914354" indent="0">
              <a:buNone/>
              <a:defRPr sz="1467">
                <a:solidFill>
                  <a:schemeClr val="bg1"/>
                </a:solidFill>
              </a:defRPr>
            </a:lvl4pPr>
            <a:lvl5pPr marL="1219140" indent="0"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AA6A48B-C5B1-4E36-AFB6-7061A556D3F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42063" y="1713901"/>
            <a:ext cx="2328672" cy="1889811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83E92271-CB0B-468E-9088-18E21447C7C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89208" y="1713901"/>
            <a:ext cx="2328672" cy="1889811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11136D-2DCA-404D-91F0-16836EF0E83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38740" y="1713901"/>
            <a:ext cx="2328672" cy="1889811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364EF4C-7849-406B-AE4C-BFEA899B362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04280" y="1713901"/>
            <a:ext cx="2328672" cy="1889811"/>
          </a:xfrm>
        </p:spPr>
        <p:txBody>
          <a:bodyPr tIns="0" rIns="0" bIns="0" anchor="ctr" anchorCtr="0"/>
          <a:lstStyle>
            <a:lvl1pPr marL="0" indent="0" algn="ctr">
              <a:buNone/>
              <a:defRPr sz="2133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3348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20" y="511079"/>
            <a:ext cx="6346801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5" y="1833033"/>
            <a:ext cx="6346803" cy="4120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5E010C8-FB5F-4115-A26C-9592F8820F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70765" y="2"/>
            <a:ext cx="5121235" cy="595376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6258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/>
        </p:nvSpPr>
        <p:spPr>
          <a:xfrm flipV="1">
            <a:off x="0" y="1"/>
            <a:ext cx="12192000" cy="204253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8" y="511079"/>
            <a:ext cx="4650385" cy="12827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6" y="2295345"/>
            <a:ext cx="4637417" cy="3458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9" name="Группа 69">
            <a:extLst>
              <a:ext uri="{FF2B5EF4-FFF2-40B4-BE49-F238E27FC236}">
                <a16:creationId xmlns:a16="http://schemas.microsoft.com/office/drawing/2014/main" id="{EF6E67C5-207D-4A0A-A588-7ED021879BF8}"/>
              </a:ext>
            </a:extLst>
          </p:cNvPr>
          <p:cNvGrpSpPr/>
          <p:nvPr/>
        </p:nvGrpSpPr>
        <p:grpSpPr>
          <a:xfrm>
            <a:off x="5411968" y="733573"/>
            <a:ext cx="2633864" cy="5020127"/>
            <a:chOff x="-3543473" y="-4875014"/>
            <a:chExt cx="3414713" cy="6508750"/>
          </a:xfrm>
          <a:effectLst>
            <a:reflection blurRad="50800" stA="50000" endPos="2000" dist="38100" dir="5400000" sy="-100000" algn="bl" rotWithShape="0"/>
          </a:effectLst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FFC9FDF1-6E7C-490E-B165-CE74CCAD5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C2F9E074-F63D-426A-A5C8-DCCE4291B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99DB5C4F-788A-4FC8-BFD1-E7FEE2F60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2B84CB88-062F-4613-B126-B1C3EA488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id="{B31B8254-C935-468B-978C-41D22DA8C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0601D483-F612-4AB0-9084-7FDB55684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0D8401AB-1D65-486C-8719-E4446C4E4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ADECEB99-B15A-4978-83AD-263017B5F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249066F9-BFFC-4273-B66A-6D43D1DC6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9" name="Oval 15">
              <a:extLst>
                <a:ext uri="{FF2B5EF4-FFF2-40B4-BE49-F238E27FC236}">
                  <a16:creationId xmlns:a16="http://schemas.microsoft.com/office/drawing/2014/main" id="{DD1CB3CD-0592-471B-A215-991FA1730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0" name="Oval 16">
              <a:extLst>
                <a:ext uri="{FF2B5EF4-FFF2-40B4-BE49-F238E27FC236}">
                  <a16:creationId xmlns:a16="http://schemas.microsoft.com/office/drawing/2014/main" id="{94FD97D9-8F3D-43C4-9569-F30004373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1" name="Oval 17">
              <a:extLst>
                <a:ext uri="{FF2B5EF4-FFF2-40B4-BE49-F238E27FC236}">
                  <a16:creationId xmlns:a16="http://schemas.microsoft.com/office/drawing/2014/main" id="{06A5C97B-0F4F-4713-B447-A93D5FA8F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2" name="Oval 18">
              <a:extLst>
                <a:ext uri="{FF2B5EF4-FFF2-40B4-BE49-F238E27FC236}">
                  <a16:creationId xmlns:a16="http://schemas.microsoft.com/office/drawing/2014/main" id="{DEE2E46B-63B2-44F3-816D-850711793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3" name="Oval 19">
              <a:extLst>
                <a:ext uri="{FF2B5EF4-FFF2-40B4-BE49-F238E27FC236}">
                  <a16:creationId xmlns:a16="http://schemas.microsoft.com/office/drawing/2014/main" id="{91AA136C-4BD7-4EA2-BD6C-784B54A69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4" name="Oval 20">
              <a:extLst>
                <a:ext uri="{FF2B5EF4-FFF2-40B4-BE49-F238E27FC236}">
                  <a16:creationId xmlns:a16="http://schemas.microsoft.com/office/drawing/2014/main" id="{880DE56F-F1AF-4D36-B396-06035A1BE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5" name="Oval 21">
              <a:extLst>
                <a:ext uri="{FF2B5EF4-FFF2-40B4-BE49-F238E27FC236}">
                  <a16:creationId xmlns:a16="http://schemas.microsoft.com/office/drawing/2014/main" id="{4988FBAE-46EC-4B9E-93D7-214BD3DCF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6" name="Oval 22">
              <a:extLst>
                <a:ext uri="{FF2B5EF4-FFF2-40B4-BE49-F238E27FC236}">
                  <a16:creationId xmlns:a16="http://schemas.microsoft.com/office/drawing/2014/main" id="{197685E8-7CF1-4373-A81B-AFE1B8DA3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7" name="Oval 23">
              <a:extLst>
                <a:ext uri="{FF2B5EF4-FFF2-40B4-BE49-F238E27FC236}">
                  <a16:creationId xmlns:a16="http://schemas.microsoft.com/office/drawing/2014/main" id="{351EC3A1-B7E4-4552-B61A-1473FCC90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8" name="Oval 24">
              <a:extLst>
                <a:ext uri="{FF2B5EF4-FFF2-40B4-BE49-F238E27FC236}">
                  <a16:creationId xmlns:a16="http://schemas.microsoft.com/office/drawing/2014/main" id="{661AC816-2296-40C9-A25C-B1BEFE61A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46F29B81-FB29-4C2F-91BC-A295FECE0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90C135C-B9D0-4415-BAB5-F12F8FD61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429A1CC3-6587-4A2B-AEB1-2BC35DF0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1F760E5D-3369-4757-8B2E-D6F346D2B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99FCCAB-F287-4E3E-83C9-009215A4A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4" name="Rectangle 30">
              <a:extLst>
                <a:ext uri="{FF2B5EF4-FFF2-40B4-BE49-F238E27FC236}">
                  <a16:creationId xmlns:a16="http://schemas.microsoft.com/office/drawing/2014/main" id="{280A20CA-7B66-42A9-AD13-D38874CF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5" name="Rectangle 31">
              <a:extLst>
                <a:ext uri="{FF2B5EF4-FFF2-40B4-BE49-F238E27FC236}">
                  <a16:creationId xmlns:a16="http://schemas.microsoft.com/office/drawing/2014/main" id="{9C216AE3-F552-4364-BF9E-C09495D34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6" name="Rectangle 32">
              <a:extLst>
                <a:ext uri="{FF2B5EF4-FFF2-40B4-BE49-F238E27FC236}">
                  <a16:creationId xmlns:a16="http://schemas.microsoft.com/office/drawing/2014/main" id="{5AB55B02-60BB-4454-9000-223DAA7EF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7" name="Rectangle 33">
              <a:extLst>
                <a:ext uri="{FF2B5EF4-FFF2-40B4-BE49-F238E27FC236}">
                  <a16:creationId xmlns:a16="http://schemas.microsoft.com/office/drawing/2014/main" id="{97BBF5A9-38D1-401C-8AE4-81F93C2AB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68" name="Freeform 7">
            <a:extLst>
              <a:ext uri="{FF2B5EF4-FFF2-40B4-BE49-F238E27FC236}">
                <a16:creationId xmlns:a16="http://schemas.microsoft.com/office/drawing/2014/main" id="{C7C42263-A9D0-4A7B-A353-BE068384C75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5589785" y="848120"/>
            <a:ext cx="2332640" cy="4772795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3780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/>
        </p:nvSpPr>
        <p:spPr>
          <a:xfrm flipV="1">
            <a:off x="0" y="1"/>
            <a:ext cx="12192000" cy="20425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9" y="511079"/>
            <a:ext cx="4665893" cy="12827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" name="Content Placeholder 6"/>
          <p:cNvSpPr>
            <a:spLocks noGrp="1"/>
          </p:cNvSpPr>
          <p:nvPr>
            <p:ph sz="quarter" idx="14"/>
          </p:nvPr>
        </p:nvSpPr>
        <p:spPr>
          <a:xfrm>
            <a:off x="520706" y="2295345"/>
            <a:ext cx="4637417" cy="3458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7" name="Группа 69">
            <a:extLst>
              <a:ext uri="{FF2B5EF4-FFF2-40B4-BE49-F238E27FC236}">
                <a16:creationId xmlns:a16="http://schemas.microsoft.com/office/drawing/2014/main" id="{EF6E67C5-207D-4A0A-A588-7ED021879BF8}"/>
              </a:ext>
            </a:extLst>
          </p:cNvPr>
          <p:cNvGrpSpPr/>
          <p:nvPr/>
        </p:nvGrpSpPr>
        <p:grpSpPr>
          <a:xfrm>
            <a:off x="5411968" y="733573"/>
            <a:ext cx="2633864" cy="5020127"/>
            <a:chOff x="-3543473" y="-4875014"/>
            <a:chExt cx="3414713" cy="6508750"/>
          </a:xfrm>
          <a:effectLst>
            <a:reflection blurRad="50800" stA="50000" endPos="2000" dist="38100" dir="5400000" sy="-100000" algn="bl" rotWithShape="0"/>
          </a:effectLst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FFC9FDF1-6E7C-490E-B165-CE74CCAD5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C2F9E074-F63D-426A-A5C8-DCCE4291B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99DB5C4F-788A-4FC8-BFD1-E7FEE2F60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2B84CB88-062F-4613-B126-B1C3EA488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B31B8254-C935-468B-978C-41D22DA8C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0601D483-F612-4AB0-9084-7FDB55684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0D8401AB-1D65-486C-8719-E4446C4E4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ADECEB99-B15A-4978-83AD-263017B5F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249066F9-BFFC-4273-B66A-6D43D1DC6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7" name="Oval 15">
              <a:extLst>
                <a:ext uri="{FF2B5EF4-FFF2-40B4-BE49-F238E27FC236}">
                  <a16:creationId xmlns:a16="http://schemas.microsoft.com/office/drawing/2014/main" id="{DD1CB3CD-0592-471B-A215-991FA1730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8" name="Oval 16">
              <a:extLst>
                <a:ext uri="{FF2B5EF4-FFF2-40B4-BE49-F238E27FC236}">
                  <a16:creationId xmlns:a16="http://schemas.microsoft.com/office/drawing/2014/main" id="{94FD97D9-8F3D-43C4-9569-F30004373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9" name="Oval 17">
              <a:extLst>
                <a:ext uri="{FF2B5EF4-FFF2-40B4-BE49-F238E27FC236}">
                  <a16:creationId xmlns:a16="http://schemas.microsoft.com/office/drawing/2014/main" id="{06A5C97B-0F4F-4713-B447-A93D5FA8F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0" name="Oval 18">
              <a:extLst>
                <a:ext uri="{FF2B5EF4-FFF2-40B4-BE49-F238E27FC236}">
                  <a16:creationId xmlns:a16="http://schemas.microsoft.com/office/drawing/2014/main" id="{DEE2E46B-63B2-44F3-816D-850711793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1" name="Oval 19">
              <a:extLst>
                <a:ext uri="{FF2B5EF4-FFF2-40B4-BE49-F238E27FC236}">
                  <a16:creationId xmlns:a16="http://schemas.microsoft.com/office/drawing/2014/main" id="{91AA136C-4BD7-4EA2-BD6C-784B54A69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2" name="Oval 20">
              <a:extLst>
                <a:ext uri="{FF2B5EF4-FFF2-40B4-BE49-F238E27FC236}">
                  <a16:creationId xmlns:a16="http://schemas.microsoft.com/office/drawing/2014/main" id="{880DE56F-F1AF-4D36-B396-06035A1BE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3" name="Oval 21">
              <a:extLst>
                <a:ext uri="{FF2B5EF4-FFF2-40B4-BE49-F238E27FC236}">
                  <a16:creationId xmlns:a16="http://schemas.microsoft.com/office/drawing/2014/main" id="{4988FBAE-46EC-4B9E-93D7-214BD3DCF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4" name="Oval 22">
              <a:extLst>
                <a:ext uri="{FF2B5EF4-FFF2-40B4-BE49-F238E27FC236}">
                  <a16:creationId xmlns:a16="http://schemas.microsoft.com/office/drawing/2014/main" id="{197685E8-7CF1-4373-A81B-AFE1B8DA3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5" name="Oval 23">
              <a:extLst>
                <a:ext uri="{FF2B5EF4-FFF2-40B4-BE49-F238E27FC236}">
                  <a16:creationId xmlns:a16="http://schemas.microsoft.com/office/drawing/2014/main" id="{351EC3A1-B7E4-4552-B61A-1473FCC90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6" name="Oval 24">
              <a:extLst>
                <a:ext uri="{FF2B5EF4-FFF2-40B4-BE49-F238E27FC236}">
                  <a16:creationId xmlns:a16="http://schemas.microsoft.com/office/drawing/2014/main" id="{661AC816-2296-40C9-A25C-B1BEFE61A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7" name="Freeform 25">
              <a:extLst>
                <a:ext uri="{FF2B5EF4-FFF2-40B4-BE49-F238E27FC236}">
                  <a16:creationId xmlns:a16="http://schemas.microsoft.com/office/drawing/2014/main" id="{46F29B81-FB29-4C2F-91BC-A295FECE0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8" name="Freeform 26">
              <a:extLst>
                <a:ext uri="{FF2B5EF4-FFF2-40B4-BE49-F238E27FC236}">
                  <a16:creationId xmlns:a16="http://schemas.microsoft.com/office/drawing/2014/main" id="{290C135C-B9D0-4415-BAB5-F12F8FD61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9" name="Freeform 27">
              <a:extLst>
                <a:ext uri="{FF2B5EF4-FFF2-40B4-BE49-F238E27FC236}">
                  <a16:creationId xmlns:a16="http://schemas.microsoft.com/office/drawing/2014/main" id="{429A1CC3-6587-4A2B-AEB1-2BC35DF0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0" name="Freeform 28">
              <a:extLst>
                <a:ext uri="{FF2B5EF4-FFF2-40B4-BE49-F238E27FC236}">
                  <a16:creationId xmlns:a16="http://schemas.microsoft.com/office/drawing/2014/main" id="{1F760E5D-3369-4757-8B2E-D6F346D2B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699FCCAB-F287-4E3E-83C9-009215A4A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2" name="Rectangle 30">
              <a:extLst>
                <a:ext uri="{FF2B5EF4-FFF2-40B4-BE49-F238E27FC236}">
                  <a16:creationId xmlns:a16="http://schemas.microsoft.com/office/drawing/2014/main" id="{280A20CA-7B66-42A9-AD13-D38874CF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3" name="Rectangle 31">
              <a:extLst>
                <a:ext uri="{FF2B5EF4-FFF2-40B4-BE49-F238E27FC236}">
                  <a16:creationId xmlns:a16="http://schemas.microsoft.com/office/drawing/2014/main" id="{9C216AE3-F552-4364-BF9E-C09495D34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4" name="Rectangle 32">
              <a:extLst>
                <a:ext uri="{FF2B5EF4-FFF2-40B4-BE49-F238E27FC236}">
                  <a16:creationId xmlns:a16="http://schemas.microsoft.com/office/drawing/2014/main" id="{5AB55B02-60BB-4454-9000-223DAA7EF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5" name="Rectangle 33">
              <a:extLst>
                <a:ext uri="{FF2B5EF4-FFF2-40B4-BE49-F238E27FC236}">
                  <a16:creationId xmlns:a16="http://schemas.microsoft.com/office/drawing/2014/main" id="{97BBF5A9-38D1-401C-8AE4-81F93C2AB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96" name="Freeform 7">
            <a:extLst>
              <a:ext uri="{FF2B5EF4-FFF2-40B4-BE49-F238E27FC236}">
                <a16:creationId xmlns:a16="http://schemas.microsoft.com/office/drawing/2014/main" id="{C7C42263-A9D0-4A7B-A353-BE068384C75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5589785" y="848120"/>
            <a:ext cx="2332640" cy="4772795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25087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Прямоугольник 21">
            <a:extLst>
              <a:ext uri="{FF2B5EF4-FFF2-40B4-BE49-F238E27FC236}">
                <a16:creationId xmlns:a16="http://schemas.microsoft.com/office/drawing/2014/main" id="{B3DE99BA-2555-4ED3-A990-CFEFFA9A7B77}"/>
              </a:ext>
            </a:extLst>
          </p:cNvPr>
          <p:cNvSpPr/>
          <p:nvPr/>
        </p:nvSpPr>
        <p:spPr>
          <a:xfrm>
            <a:off x="0" y="1694063"/>
            <a:ext cx="12192000" cy="417130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grpSp>
        <p:nvGrpSpPr>
          <p:cNvPr id="9" name="Группа 126">
            <a:extLst>
              <a:ext uri="{FF2B5EF4-FFF2-40B4-BE49-F238E27FC236}">
                <a16:creationId xmlns:a16="http://schemas.microsoft.com/office/drawing/2014/main" id="{A048296C-7F5D-463E-AC7F-FD26BAB620A2}"/>
              </a:ext>
            </a:extLst>
          </p:cNvPr>
          <p:cNvGrpSpPr/>
          <p:nvPr/>
        </p:nvGrpSpPr>
        <p:grpSpPr>
          <a:xfrm>
            <a:off x="9497826" y="1353315"/>
            <a:ext cx="2245708" cy="4280304"/>
            <a:chOff x="-3543473" y="-4875014"/>
            <a:chExt cx="3414713" cy="6508750"/>
          </a:xfrm>
          <a:effectLst/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53ECADC-E730-4638-8117-B5EFBC6C8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F92AA342-FDBF-4773-A864-2EC8A1B90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6DDA3C1A-D117-49A7-B2F5-0BC15C493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C663BA41-6490-4346-8CDE-D7E0BB188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FD3A51B2-5FC5-4E66-8288-B90CA9165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927A508E-A941-47D2-96B3-C7917E9C8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27850805-43AE-46F3-BE9D-728C911AA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6D1DA30A-F040-4511-BEDD-E9F6982D9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BF6279BD-6D9D-417D-8C17-FCA6537DD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9" name="Oval 15">
              <a:extLst>
                <a:ext uri="{FF2B5EF4-FFF2-40B4-BE49-F238E27FC236}">
                  <a16:creationId xmlns:a16="http://schemas.microsoft.com/office/drawing/2014/main" id="{0FB70E9E-2B45-4016-ADD4-6DC47144E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243581DB-E17B-47E5-94B0-9BBAE3BBC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8BB89B5B-E1D6-4477-B69D-4D92C30B3C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2677AA83-6C11-4AAA-8A1C-38CE3E0EB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3" name="Oval 19">
              <a:extLst>
                <a:ext uri="{FF2B5EF4-FFF2-40B4-BE49-F238E27FC236}">
                  <a16:creationId xmlns:a16="http://schemas.microsoft.com/office/drawing/2014/main" id="{347498A8-8317-4156-9C67-B2F30043D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4" name="Oval 20">
              <a:extLst>
                <a:ext uri="{FF2B5EF4-FFF2-40B4-BE49-F238E27FC236}">
                  <a16:creationId xmlns:a16="http://schemas.microsoft.com/office/drawing/2014/main" id="{8784B471-FC6B-449B-AF55-86EE3923E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5" name="Oval 21">
              <a:extLst>
                <a:ext uri="{FF2B5EF4-FFF2-40B4-BE49-F238E27FC236}">
                  <a16:creationId xmlns:a16="http://schemas.microsoft.com/office/drawing/2014/main" id="{52A4795E-6331-44E7-8C67-ABD853927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6" name="Oval 22">
              <a:extLst>
                <a:ext uri="{FF2B5EF4-FFF2-40B4-BE49-F238E27FC236}">
                  <a16:creationId xmlns:a16="http://schemas.microsoft.com/office/drawing/2014/main" id="{EB91F46B-7A8E-4D7C-B0DA-30F25821C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30A8B285-000F-410E-80D1-853148CA5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4DF59777-F379-4826-AF5D-985210434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E93CF105-6846-4A8F-9B6E-62CDA17E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0EEF56BE-3D56-4316-AF3C-F9585325B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65D6B545-272C-443C-9575-39B093AAD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1EABF3EB-E3FD-44A9-90BC-3955DBC6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DF33744E-00AC-4BF9-8670-3059AF54B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" name="Rectangle 30">
              <a:extLst>
                <a:ext uri="{FF2B5EF4-FFF2-40B4-BE49-F238E27FC236}">
                  <a16:creationId xmlns:a16="http://schemas.microsoft.com/office/drawing/2014/main" id="{C2DFAF6C-6FC4-47D7-B4B1-A6AD11F1A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5" name="Rectangle 31">
              <a:extLst>
                <a:ext uri="{FF2B5EF4-FFF2-40B4-BE49-F238E27FC236}">
                  <a16:creationId xmlns:a16="http://schemas.microsoft.com/office/drawing/2014/main" id="{CE04325F-86D7-4E04-8DE2-3DDF2EA7C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4A9C54E8-3EA9-41C4-8212-687B23BEC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" name="Rectangle 33">
              <a:extLst>
                <a:ext uri="{FF2B5EF4-FFF2-40B4-BE49-F238E27FC236}">
                  <a16:creationId xmlns:a16="http://schemas.microsoft.com/office/drawing/2014/main" id="{5CFC10DA-A4F5-4C72-B697-4CEA54254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grpSp>
        <p:nvGrpSpPr>
          <p:cNvPr id="38" name="Группа 155">
            <a:extLst>
              <a:ext uri="{FF2B5EF4-FFF2-40B4-BE49-F238E27FC236}">
                <a16:creationId xmlns:a16="http://schemas.microsoft.com/office/drawing/2014/main" id="{51B78E1D-93A7-40F4-A31F-D08FDE96F408}"/>
              </a:ext>
            </a:extLst>
          </p:cNvPr>
          <p:cNvGrpSpPr/>
          <p:nvPr/>
        </p:nvGrpSpPr>
        <p:grpSpPr>
          <a:xfrm>
            <a:off x="5177627" y="1353315"/>
            <a:ext cx="2245708" cy="4280304"/>
            <a:chOff x="-3543473" y="-4875014"/>
            <a:chExt cx="3414713" cy="6508750"/>
          </a:xfrm>
          <a:effectLst/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FFE1DF11-8D6D-40E7-BC59-568ECEC7A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F313F226-EB05-4D8F-B7CC-965931E17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996A4164-A975-4B78-A778-64AB1EC5B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922F339C-8B7D-488B-8DC2-355CC5342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FDF5369B-9B2B-476A-9782-2DAAA63D4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593727A-4668-48B2-A3F8-32949A0BA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92AD8A6B-3E1E-4B5C-A361-CB5703AA2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21B01521-9DCB-494A-B582-43674F799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4D3CCE09-68ED-4D73-B6D8-4C6685E88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8" name="Oval 15">
              <a:extLst>
                <a:ext uri="{FF2B5EF4-FFF2-40B4-BE49-F238E27FC236}">
                  <a16:creationId xmlns:a16="http://schemas.microsoft.com/office/drawing/2014/main" id="{5CCEBBBF-7C7F-45AC-8A82-67EEC91F5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9" name="Oval 16">
              <a:extLst>
                <a:ext uri="{FF2B5EF4-FFF2-40B4-BE49-F238E27FC236}">
                  <a16:creationId xmlns:a16="http://schemas.microsoft.com/office/drawing/2014/main" id="{8ADCA090-F429-40F8-81B3-BF588CE4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0" name="Oval 17">
              <a:extLst>
                <a:ext uri="{FF2B5EF4-FFF2-40B4-BE49-F238E27FC236}">
                  <a16:creationId xmlns:a16="http://schemas.microsoft.com/office/drawing/2014/main" id="{C32CD1CD-FE94-4CCB-B5E4-FFC37CCD3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1" name="Oval 18">
              <a:extLst>
                <a:ext uri="{FF2B5EF4-FFF2-40B4-BE49-F238E27FC236}">
                  <a16:creationId xmlns:a16="http://schemas.microsoft.com/office/drawing/2014/main" id="{4F565520-F27C-4A8D-A8D2-5C279A554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2" name="Oval 19">
              <a:extLst>
                <a:ext uri="{FF2B5EF4-FFF2-40B4-BE49-F238E27FC236}">
                  <a16:creationId xmlns:a16="http://schemas.microsoft.com/office/drawing/2014/main" id="{89C10A88-A3A5-434E-92C0-BB7F9D5D6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3" name="Oval 20">
              <a:extLst>
                <a:ext uri="{FF2B5EF4-FFF2-40B4-BE49-F238E27FC236}">
                  <a16:creationId xmlns:a16="http://schemas.microsoft.com/office/drawing/2014/main" id="{397D51FF-E6DA-4FC0-B26D-F2389C1C1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4" name="Oval 21">
              <a:extLst>
                <a:ext uri="{FF2B5EF4-FFF2-40B4-BE49-F238E27FC236}">
                  <a16:creationId xmlns:a16="http://schemas.microsoft.com/office/drawing/2014/main" id="{51B9E20D-548C-4ED4-B37F-0CAC17D85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5" name="Oval 22">
              <a:extLst>
                <a:ext uri="{FF2B5EF4-FFF2-40B4-BE49-F238E27FC236}">
                  <a16:creationId xmlns:a16="http://schemas.microsoft.com/office/drawing/2014/main" id="{BB6FD23F-628C-4178-8825-A36908DB4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6" name="Oval 23">
              <a:extLst>
                <a:ext uri="{FF2B5EF4-FFF2-40B4-BE49-F238E27FC236}">
                  <a16:creationId xmlns:a16="http://schemas.microsoft.com/office/drawing/2014/main" id="{74EB880B-4772-409F-9427-3C24AC129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7" name="Oval 24">
              <a:extLst>
                <a:ext uri="{FF2B5EF4-FFF2-40B4-BE49-F238E27FC236}">
                  <a16:creationId xmlns:a16="http://schemas.microsoft.com/office/drawing/2014/main" id="{5192193E-BC04-409B-A12A-9EC98D2D1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8" name="Freeform 25">
              <a:extLst>
                <a:ext uri="{FF2B5EF4-FFF2-40B4-BE49-F238E27FC236}">
                  <a16:creationId xmlns:a16="http://schemas.microsoft.com/office/drawing/2014/main" id="{2A7F1686-C350-4AC3-9FE3-C34073AC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9" name="Freeform 26">
              <a:extLst>
                <a:ext uri="{FF2B5EF4-FFF2-40B4-BE49-F238E27FC236}">
                  <a16:creationId xmlns:a16="http://schemas.microsoft.com/office/drawing/2014/main" id="{8F54CFF4-283F-4F17-9D91-E8BB3503C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0" name="Freeform 27">
              <a:extLst>
                <a:ext uri="{FF2B5EF4-FFF2-40B4-BE49-F238E27FC236}">
                  <a16:creationId xmlns:a16="http://schemas.microsoft.com/office/drawing/2014/main" id="{4A3FB082-3DE9-4BC4-8718-EFC7DBBA2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8436467B-8914-422C-9469-05E8BDF3E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2" name="Freeform 29">
              <a:extLst>
                <a:ext uri="{FF2B5EF4-FFF2-40B4-BE49-F238E27FC236}">
                  <a16:creationId xmlns:a16="http://schemas.microsoft.com/office/drawing/2014/main" id="{9A17E4B3-7C71-4B00-9805-B46DE126E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3" name="Rectangle 30">
              <a:extLst>
                <a:ext uri="{FF2B5EF4-FFF2-40B4-BE49-F238E27FC236}">
                  <a16:creationId xmlns:a16="http://schemas.microsoft.com/office/drawing/2014/main" id="{9DE3C726-D714-4EDF-BBEA-00C3D77F2A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4" name="Rectangle 31">
              <a:extLst>
                <a:ext uri="{FF2B5EF4-FFF2-40B4-BE49-F238E27FC236}">
                  <a16:creationId xmlns:a16="http://schemas.microsoft.com/office/drawing/2014/main" id="{023670C0-B321-4C90-BC7A-44033C2B4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5" name="Rectangle 32">
              <a:extLst>
                <a:ext uri="{FF2B5EF4-FFF2-40B4-BE49-F238E27FC236}">
                  <a16:creationId xmlns:a16="http://schemas.microsoft.com/office/drawing/2014/main" id="{A65B4DFD-88E3-4D13-A159-448A498A2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6" name="Rectangle 33">
              <a:extLst>
                <a:ext uri="{FF2B5EF4-FFF2-40B4-BE49-F238E27FC236}">
                  <a16:creationId xmlns:a16="http://schemas.microsoft.com/office/drawing/2014/main" id="{7C791AB0-B986-476B-917D-99EF307D3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67" name="Freeform 7">
            <a:extLst>
              <a:ext uri="{FF2B5EF4-FFF2-40B4-BE49-F238E27FC236}">
                <a16:creationId xmlns:a16="http://schemas.microsoft.com/office/drawing/2014/main" id="{6EEBB929-53A7-42F8-8771-C778CAFAE0F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auto">
          <a:xfrm>
            <a:off x="9630274" y="1466812"/>
            <a:ext cx="1988876" cy="4069421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  <p:sp>
        <p:nvSpPr>
          <p:cNvPr id="68" name="Freeform 7">
            <a:extLst>
              <a:ext uri="{FF2B5EF4-FFF2-40B4-BE49-F238E27FC236}">
                <a16:creationId xmlns:a16="http://schemas.microsoft.com/office/drawing/2014/main" id="{DC4C5B07-50E3-41D7-AE59-14BCDD6EF0B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auto">
          <a:xfrm>
            <a:off x="5309975" y="1466511"/>
            <a:ext cx="1988876" cy="4069421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  <p:grpSp>
        <p:nvGrpSpPr>
          <p:cNvPr id="69" name="Группа 184">
            <a:extLst>
              <a:ext uri="{FF2B5EF4-FFF2-40B4-BE49-F238E27FC236}">
                <a16:creationId xmlns:a16="http://schemas.microsoft.com/office/drawing/2014/main" id="{A73DAD4A-6F7E-42DB-992C-0E7C6EF4B200}"/>
              </a:ext>
            </a:extLst>
          </p:cNvPr>
          <p:cNvGrpSpPr/>
          <p:nvPr/>
        </p:nvGrpSpPr>
        <p:grpSpPr>
          <a:xfrm>
            <a:off x="7029285" y="669317"/>
            <a:ext cx="2833273" cy="5400200"/>
            <a:chOff x="-3543474" y="-4875029"/>
            <a:chExt cx="3414714" cy="6508770"/>
          </a:xfrm>
          <a:effectLst/>
        </p:grpSpPr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7F870284-FBEB-4E85-8BDF-759246ED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650877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BCB16AD3-7571-4CC0-94BE-8326A52A9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1" y="-4816291"/>
              <a:ext cx="3240089" cy="639129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F4D84CCC-C72C-4217-B1D7-DAA9C0610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5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80BD5B8C-C2E5-4184-BC35-E8AF2262E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463737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6B809883-9CA8-471C-A49B-40B17769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916176"/>
              <a:ext cx="28575" cy="209551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B04F2FC6-4CE3-44F4-9E51-B4B7EF957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2943035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B4652012-F362-424E-8E48-4C19CC8C3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1141615"/>
              <a:ext cx="3357564" cy="492126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403F3DE0-7711-4553-A00C-DD299EF39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492126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DCA2B92-D1F3-4677-B1B8-5BCE21512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6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79" name="Oval 15">
              <a:extLst>
                <a:ext uri="{FF2B5EF4-FFF2-40B4-BE49-F238E27FC236}">
                  <a16:creationId xmlns:a16="http://schemas.microsoft.com/office/drawing/2014/main" id="{A5B87625-0852-4B02-8D66-B0F655B7B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54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0" name="Oval 16">
              <a:extLst>
                <a:ext uri="{FF2B5EF4-FFF2-40B4-BE49-F238E27FC236}">
                  <a16:creationId xmlns:a16="http://schemas.microsoft.com/office/drawing/2014/main" id="{4A9A7993-26E0-4FED-B4B2-B94C5B968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6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1" name="Oval 17">
              <a:extLst>
                <a:ext uri="{FF2B5EF4-FFF2-40B4-BE49-F238E27FC236}">
                  <a16:creationId xmlns:a16="http://schemas.microsoft.com/office/drawing/2014/main" id="{68308D50-8F81-4022-8E5C-9BBC7BA3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4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2" name="Oval 18">
              <a:extLst>
                <a:ext uri="{FF2B5EF4-FFF2-40B4-BE49-F238E27FC236}">
                  <a16:creationId xmlns:a16="http://schemas.microsoft.com/office/drawing/2014/main" id="{5FEAFC20-F747-4510-A4DF-8C55DC16A2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54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3" name="Oval 19">
              <a:extLst>
                <a:ext uri="{FF2B5EF4-FFF2-40B4-BE49-F238E27FC236}">
                  <a16:creationId xmlns:a16="http://schemas.microsoft.com/office/drawing/2014/main" id="{D4CAD4C0-F3BA-4A4A-9E73-C2FC54395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40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4" name="Oval 20">
              <a:extLst>
                <a:ext uri="{FF2B5EF4-FFF2-40B4-BE49-F238E27FC236}">
                  <a16:creationId xmlns:a16="http://schemas.microsoft.com/office/drawing/2014/main" id="{BBD7D811-6A31-49FF-ACE0-05D34BECA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9" y="-4694054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5" name="Oval 21">
              <a:extLst>
                <a:ext uri="{FF2B5EF4-FFF2-40B4-BE49-F238E27FC236}">
                  <a16:creationId xmlns:a16="http://schemas.microsoft.com/office/drawing/2014/main" id="{2C50A87F-800C-48D1-83FC-33A049CB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6" name="Oval 22">
              <a:extLst>
                <a:ext uri="{FF2B5EF4-FFF2-40B4-BE49-F238E27FC236}">
                  <a16:creationId xmlns:a16="http://schemas.microsoft.com/office/drawing/2014/main" id="{177681EF-E995-4F5A-ADE6-1E0D4A5916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7" name="Oval 23">
              <a:extLst>
                <a:ext uri="{FF2B5EF4-FFF2-40B4-BE49-F238E27FC236}">
                  <a16:creationId xmlns:a16="http://schemas.microsoft.com/office/drawing/2014/main" id="{FBAA2201-7D2A-42B3-8D79-7F9D81E1E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54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8" name="Oval 24">
              <a:extLst>
                <a:ext uri="{FF2B5EF4-FFF2-40B4-BE49-F238E27FC236}">
                  <a16:creationId xmlns:a16="http://schemas.microsoft.com/office/drawing/2014/main" id="{2F111A11-F006-407D-9223-0DC37AE09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41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9322A272-C0A9-4E1A-A267-771FFF0D9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916177"/>
              <a:ext cx="9525" cy="209551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0" name="Freeform 26">
              <a:extLst>
                <a:ext uri="{FF2B5EF4-FFF2-40B4-BE49-F238E27FC236}">
                  <a16:creationId xmlns:a16="http://schemas.microsoft.com/office/drawing/2014/main" id="{155B25F2-F34A-4CA9-9999-187805469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463737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7E0F33CB-A556-417E-818F-E850CB4B0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2943035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B4AD8304-FF25-4C01-A29C-62B44B285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28575" cy="787402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5B82E5E9-3946-4EFF-8DE7-DE46097A0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9525" cy="787402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4" name="Rectangle 30">
              <a:extLst>
                <a:ext uri="{FF2B5EF4-FFF2-40B4-BE49-F238E27FC236}">
                  <a16:creationId xmlns:a16="http://schemas.microsoft.com/office/drawing/2014/main" id="{1BD3D1AB-5491-4EF6-947D-564E47F34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4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5" name="Rectangle 31">
              <a:extLst>
                <a:ext uri="{FF2B5EF4-FFF2-40B4-BE49-F238E27FC236}">
                  <a16:creationId xmlns:a16="http://schemas.microsoft.com/office/drawing/2014/main" id="{F5E3270B-6F6B-45B0-86EC-29E7A7125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9" y="766963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6" name="Rectangle 32">
              <a:extLst>
                <a:ext uri="{FF2B5EF4-FFF2-40B4-BE49-F238E27FC236}">
                  <a16:creationId xmlns:a16="http://schemas.microsoft.com/office/drawing/2014/main" id="{BA362EFC-D4BE-45D1-95C0-2DBD5202A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6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97" name="Rectangle 33">
              <a:extLst>
                <a:ext uri="{FF2B5EF4-FFF2-40B4-BE49-F238E27FC236}">
                  <a16:creationId xmlns:a16="http://schemas.microsoft.com/office/drawing/2014/main" id="{917968E5-62E8-478F-9A3C-FAC2FDA2E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98" name="Freeform 7">
            <a:extLst>
              <a:ext uri="{FF2B5EF4-FFF2-40B4-BE49-F238E27FC236}">
                <a16:creationId xmlns:a16="http://schemas.microsoft.com/office/drawing/2014/main" id="{4C7F7092-F2F5-49BD-9BF3-233E4A80C85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7203509" y="813317"/>
            <a:ext cx="2509559" cy="5134783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9" y="511079"/>
            <a:ext cx="4176453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1" name="Content Placeholder 6"/>
          <p:cNvSpPr>
            <a:spLocks noGrp="1"/>
          </p:cNvSpPr>
          <p:nvPr>
            <p:ph sz="quarter" idx="14"/>
          </p:nvPr>
        </p:nvSpPr>
        <p:spPr>
          <a:xfrm>
            <a:off x="520705" y="2013449"/>
            <a:ext cx="4165867" cy="3458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46770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4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5536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21">
            <a:extLst>
              <a:ext uri="{FF2B5EF4-FFF2-40B4-BE49-F238E27FC236}">
                <a16:creationId xmlns:a16="http://schemas.microsoft.com/office/drawing/2014/main" id="{B3DE99BA-2555-4ED3-A990-CFEFFA9A7B77}"/>
              </a:ext>
            </a:extLst>
          </p:cNvPr>
          <p:cNvSpPr/>
          <p:nvPr/>
        </p:nvSpPr>
        <p:spPr>
          <a:xfrm>
            <a:off x="0" y="1694063"/>
            <a:ext cx="12192000" cy="41713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9" y="511079"/>
            <a:ext cx="4176453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9" name="Группа 126">
            <a:extLst>
              <a:ext uri="{FF2B5EF4-FFF2-40B4-BE49-F238E27FC236}">
                <a16:creationId xmlns:a16="http://schemas.microsoft.com/office/drawing/2014/main" id="{A048296C-7F5D-463E-AC7F-FD26BAB620A2}"/>
              </a:ext>
            </a:extLst>
          </p:cNvPr>
          <p:cNvGrpSpPr/>
          <p:nvPr/>
        </p:nvGrpSpPr>
        <p:grpSpPr>
          <a:xfrm>
            <a:off x="9497826" y="1353315"/>
            <a:ext cx="2245708" cy="4280304"/>
            <a:chOff x="-3543473" y="-4875014"/>
            <a:chExt cx="3414713" cy="6508750"/>
          </a:xfrm>
          <a:effectLst/>
        </p:grpSpPr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053ECADC-E730-4638-8117-B5EFBC6C8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1" name="Freeform 6">
              <a:extLst>
                <a:ext uri="{FF2B5EF4-FFF2-40B4-BE49-F238E27FC236}">
                  <a16:creationId xmlns:a16="http://schemas.microsoft.com/office/drawing/2014/main" id="{F92AA342-FDBF-4773-A864-2EC8A1B90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6DDA3C1A-D117-49A7-B2F5-0BC15C493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3" name="Freeform 9">
              <a:extLst>
                <a:ext uri="{FF2B5EF4-FFF2-40B4-BE49-F238E27FC236}">
                  <a16:creationId xmlns:a16="http://schemas.microsoft.com/office/drawing/2014/main" id="{C663BA41-6490-4346-8CDE-D7E0BB188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4" name="Freeform 10">
              <a:extLst>
                <a:ext uri="{FF2B5EF4-FFF2-40B4-BE49-F238E27FC236}">
                  <a16:creationId xmlns:a16="http://schemas.microsoft.com/office/drawing/2014/main" id="{FD3A51B2-5FC5-4E66-8288-B90CA9165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5" name="Freeform 11">
              <a:extLst>
                <a:ext uri="{FF2B5EF4-FFF2-40B4-BE49-F238E27FC236}">
                  <a16:creationId xmlns:a16="http://schemas.microsoft.com/office/drawing/2014/main" id="{927A508E-A941-47D2-96B3-C7917E9C8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6" name="Freeform 12">
              <a:extLst>
                <a:ext uri="{FF2B5EF4-FFF2-40B4-BE49-F238E27FC236}">
                  <a16:creationId xmlns:a16="http://schemas.microsoft.com/office/drawing/2014/main" id="{27850805-43AE-46F3-BE9D-728C911AA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7" name="Freeform 13">
              <a:extLst>
                <a:ext uri="{FF2B5EF4-FFF2-40B4-BE49-F238E27FC236}">
                  <a16:creationId xmlns:a16="http://schemas.microsoft.com/office/drawing/2014/main" id="{6D1DA30A-F040-4511-BEDD-E9F6982D9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8" name="Freeform 14">
              <a:extLst>
                <a:ext uri="{FF2B5EF4-FFF2-40B4-BE49-F238E27FC236}">
                  <a16:creationId xmlns:a16="http://schemas.microsoft.com/office/drawing/2014/main" id="{BF6279BD-6D9D-417D-8C17-FCA6537DD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9" name="Oval 15">
              <a:extLst>
                <a:ext uri="{FF2B5EF4-FFF2-40B4-BE49-F238E27FC236}">
                  <a16:creationId xmlns:a16="http://schemas.microsoft.com/office/drawing/2014/main" id="{0FB70E9E-2B45-4016-ADD4-6DC47144E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0" name="Oval 16">
              <a:extLst>
                <a:ext uri="{FF2B5EF4-FFF2-40B4-BE49-F238E27FC236}">
                  <a16:creationId xmlns:a16="http://schemas.microsoft.com/office/drawing/2014/main" id="{243581DB-E17B-47E5-94B0-9BBAE3BBC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1" name="Oval 17">
              <a:extLst>
                <a:ext uri="{FF2B5EF4-FFF2-40B4-BE49-F238E27FC236}">
                  <a16:creationId xmlns:a16="http://schemas.microsoft.com/office/drawing/2014/main" id="{8BB89B5B-E1D6-4477-B69D-4D92C30B3C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2" name="Oval 18">
              <a:extLst>
                <a:ext uri="{FF2B5EF4-FFF2-40B4-BE49-F238E27FC236}">
                  <a16:creationId xmlns:a16="http://schemas.microsoft.com/office/drawing/2014/main" id="{2677AA83-6C11-4AAA-8A1C-38CE3E0EB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3" name="Oval 19">
              <a:extLst>
                <a:ext uri="{FF2B5EF4-FFF2-40B4-BE49-F238E27FC236}">
                  <a16:creationId xmlns:a16="http://schemas.microsoft.com/office/drawing/2014/main" id="{347498A8-8317-4156-9C67-B2F30043D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4" name="Oval 20">
              <a:extLst>
                <a:ext uri="{FF2B5EF4-FFF2-40B4-BE49-F238E27FC236}">
                  <a16:creationId xmlns:a16="http://schemas.microsoft.com/office/drawing/2014/main" id="{8784B471-FC6B-449B-AF55-86EE3923E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5" name="Oval 21">
              <a:extLst>
                <a:ext uri="{FF2B5EF4-FFF2-40B4-BE49-F238E27FC236}">
                  <a16:creationId xmlns:a16="http://schemas.microsoft.com/office/drawing/2014/main" id="{52A4795E-6331-44E7-8C67-ABD853927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6" name="Oval 22">
              <a:extLst>
                <a:ext uri="{FF2B5EF4-FFF2-40B4-BE49-F238E27FC236}">
                  <a16:creationId xmlns:a16="http://schemas.microsoft.com/office/drawing/2014/main" id="{EB91F46B-7A8E-4D7C-B0DA-30F25821C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7" name="Oval 23">
              <a:extLst>
                <a:ext uri="{FF2B5EF4-FFF2-40B4-BE49-F238E27FC236}">
                  <a16:creationId xmlns:a16="http://schemas.microsoft.com/office/drawing/2014/main" id="{30A8B285-000F-410E-80D1-853148CA5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8" name="Oval 24">
              <a:extLst>
                <a:ext uri="{FF2B5EF4-FFF2-40B4-BE49-F238E27FC236}">
                  <a16:creationId xmlns:a16="http://schemas.microsoft.com/office/drawing/2014/main" id="{4DF59777-F379-4826-AF5D-985210434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9" name="Freeform 25">
              <a:extLst>
                <a:ext uri="{FF2B5EF4-FFF2-40B4-BE49-F238E27FC236}">
                  <a16:creationId xmlns:a16="http://schemas.microsoft.com/office/drawing/2014/main" id="{E93CF105-6846-4A8F-9B6E-62CDA17E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0" name="Freeform 26">
              <a:extLst>
                <a:ext uri="{FF2B5EF4-FFF2-40B4-BE49-F238E27FC236}">
                  <a16:creationId xmlns:a16="http://schemas.microsoft.com/office/drawing/2014/main" id="{0EEF56BE-3D56-4316-AF3C-F9585325B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1" name="Freeform 27">
              <a:extLst>
                <a:ext uri="{FF2B5EF4-FFF2-40B4-BE49-F238E27FC236}">
                  <a16:creationId xmlns:a16="http://schemas.microsoft.com/office/drawing/2014/main" id="{65D6B545-272C-443C-9575-39B093AAD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2" name="Freeform 28">
              <a:extLst>
                <a:ext uri="{FF2B5EF4-FFF2-40B4-BE49-F238E27FC236}">
                  <a16:creationId xmlns:a16="http://schemas.microsoft.com/office/drawing/2014/main" id="{1EABF3EB-E3FD-44A9-90BC-3955DBC6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3" name="Freeform 29">
              <a:extLst>
                <a:ext uri="{FF2B5EF4-FFF2-40B4-BE49-F238E27FC236}">
                  <a16:creationId xmlns:a16="http://schemas.microsoft.com/office/drawing/2014/main" id="{DF33744E-00AC-4BF9-8670-3059AF54B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4" name="Rectangle 30">
              <a:extLst>
                <a:ext uri="{FF2B5EF4-FFF2-40B4-BE49-F238E27FC236}">
                  <a16:creationId xmlns:a16="http://schemas.microsoft.com/office/drawing/2014/main" id="{C2DFAF6C-6FC4-47D7-B4B1-A6AD11F1A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5" name="Rectangle 31">
              <a:extLst>
                <a:ext uri="{FF2B5EF4-FFF2-40B4-BE49-F238E27FC236}">
                  <a16:creationId xmlns:a16="http://schemas.microsoft.com/office/drawing/2014/main" id="{CE04325F-86D7-4E04-8DE2-3DDF2EA7C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6" name="Rectangle 32">
              <a:extLst>
                <a:ext uri="{FF2B5EF4-FFF2-40B4-BE49-F238E27FC236}">
                  <a16:creationId xmlns:a16="http://schemas.microsoft.com/office/drawing/2014/main" id="{4A9C54E8-3EA9-41C4-8212-687B23BEC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7" name="Rectangle 33">
              <a:extLst>
                <a:ext uri="{FF2B5EF4-FFF2-40B4-BE49-F238E27FC236}">
                  <a16:creationId xmlns:a16="http://schemas.microsoft.com/office/drawing/2014/main" id="{5CFC10DA-A4F5-4C72-B697-4CEA54254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grpSp>
        <p:nvGrpSpPr>
          <p:cNvPr id="128" name="Группа 155">
            <a:extLst>
              <a:ext uri="{FF2B5EF4-FFF2-40B4-BE49-F238E27FC236}">
                <a16:creationId xmlns:a16="http://schemas.microsoft.com/office/drawing/2014/main" id="{51B78E1D-93A7-40F4-A31F-D08FDE96F408}"/>
              </a:ext>
            </a:extLst>
          </p:cNvPr>
          <p:cNvGrpSpPr/>
          <p:nvPr/>
        </p:nvGrpSpPr>
        <p:grpSpPr>
          <a:xfrm>
            <a:off x="5177627" y="1353315"/>
            <a:ext cx="2245708" cy="4280304"/>
            <a:chOff x="-3543473" y="-4875014"/>
            <a:chExt cx="3414713" cy="6508750"/>
          </a:xfrm>
          <a:effectLst/>
        </p:grpSpPr>
        <p:sp>
          <p:nvSpPr>
            <p:cNvPr id="129" name="Freeform 5">
              <a:extLst>
                <a:ext uri="{FF2B5EF4-FFF2-40B4-BE49-F238E27FC236}">
                  <a16:creationId xmlns:a16="http://schemas.microsoft.com/office/drawing/2014/main" id="{FFE1DF11-8D6D-40E7-BC59-568ECEC7A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0" name="Freeform 6">
              <a:extLst>
                <a:ext uri="{FF2B5EF4-FFF2-40B4-BE49-F238E27FC236}">
                  <a16:creationId xmlns:a16="http://schemas.microsoft.com/office/drawing/2014/main" id="{F313F226-EB05-4D8F-B7CC-965931E17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1" name="Freeform 8">
              <a:extLst>
                <a:ext uri="{FF2B5EF4-FFF2-40B4-BE49-F238E27FC236}">
                  <a16:creationId xmlns:a16="http://schemas.microsoft.com/office/drawing/2014/main" id="{996A4164-A975-4B78-A778-64AB1EC5B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2" name="Freeform 9">
              <a:extLst>
                <a:ext uri="{FF2B5EF4-FFF2-40B4-BE49-F238E27FC236}">
                  <a16:creationId xmlns:a16="http://schemas.microsoft.com/office/drawing/2014/main" id="{922F339C-8B7D-488B-8DC2-355CC5342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3" name="Freeform 10">
              <a:extLst>
                <a:ext uri="{FF2B5EF4-FFF2-40B4-BE49-F238E27FC236}">
                  <a16:creationId xmlns:a16="http://schemas.microsoft.com/office/drawing/2014/main" id="{FDF5369B-9B2B-476A-9782-2DAAA63D4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4" name="Freeform 11">
              <a:extLst>
                <a:ext uri="{FF2B5EF4-FFF2-40B4-BE49-F238E27FC236}">
                  <a16:creationId xmlns:a16="http://schemas.microsoft.com/office/drawing/2014/main" id="{8593727A-4668-48B2-A3F8-32949A0BA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5" name="Freeform 12">
              <a:extLst>
                <a:ext uri="{FF2B5EF4-FFF2-40B4-BE49-F238E27FC236}">
                  <a16:creationId xmlns:a16="http://schemas.microsoft.com/office/drawing/2014/main" id="{92AD8A6B-3E1E-4B5C-A361-CB5703AA2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6" name="Freeform 13">
              <a:extLst>
                <a:ext uri="{FF2B5EF4-FFF2-40B4-BE49-F238E27FC236}">
                  <a16:creationId xmlns:a16="http://schemas.microsoft.com/office/drawing/2014/main" id="{21B01521-9DCB-494A-B582-43674F799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7" name="Freeform 14">
              <a:extLst>
                <a:ext uri="{FF2B5EF4-FFF2-40B4-BE49-F238E27FC236}">
                  <a16:creationId xmlns:a16="http://schemas.microsoft.com/office/drawing/2014/main" id="{4D3CCE09-68ED-4D73-B6D8-4C6685E88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8" name="Oval 15">
              <a:extLst>
                <a:ext uri="{FF2B5EF4-FFF2-40B4-BE49-F238E27FC236}">
                  <a16:creationId xmlns:a16="http://schemas.microsoft.com/office/drawing/2014/main" id="{5CCEBBBF-7C7F-45AC-8A82-67EEC91F5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9" name="Oval 16">
              <a:extLst>
                <a:ext uri="{FF2B5EF4-FFF2-40B4-BE49-F238E27FC236}">
                  <a16:creationId xmlns:a16="http://schemas.microsoft.com/office/drawing/2014/main" id="{8ADCA090-F429-40F8-81B3-BF588CE4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0" name="Oval 17">
              <a:extLst>
                <a:ext uri="{FF2B5EF4-FFF2-40B4-BE49-F238E27FC236}">
                  <a16:creationId xmlns:a16="http://schemas.microsoft.com/office/drawing/2014/main" id="{C32CD1CD-FE94-4CCB-B5E4-FFC37CCD3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1" name="Oval 18">
              <a:extLst>
                <a:ext uri="{FF2B5EF4-FFF2-40B4-BE49-F238E27FC236}">
                  <a16:creationId xmlns:a16="http://schemas.microsoft.com/office/drawing/2014/main" id="{4F565520-F27C-4A8D-A8D2-5C279A554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2" name="Oval 19">
              <a:extLst>
                <a:ext uri="{FF2B5EF4-FFF2-40B4-BE49-F238E27FC236}">
                  <a16:creationId xmlns:a16="http://schemas.microsoft.com/office/drawing/2014/main" id="{89C10A88-A3A5-434E-92C0-BB7F9D5D6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3" name="Oval 20">
              <a:extLst>
                <a:ext uri="{FF2B5EF4-FFF2-40B4-BE49-F238E27FC236}">
                  <a16:creationId xmlns:a16="http://schemas.microsoft.com/office/drawing/2014/main" id="{397D51FF-E6DA-4FC0-B26D-F2389C1C1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4" name="Oval 21">
              <a:extLst>
                <a:ext uri="{FF2B5EF4-FFF2-40B4-BE49-F238E27FC236}">
                  <a16:creationId xmlns:a16="http://schemas.microsoft.com/office/drawing/2014/main" id="{51B9E20D-548C-4ED4-B37F-0CAC17D85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5" name="Oval 22">
              <a:extLst>
                <a:ext uri="{FF2B5EF4-FFF2-40B4-BE49-F238E27FC236}">
                  <a16:creationId xmlns:a16="http://schemas.microsoft.com/office/drawing/2014/main" id="{BB6FD23F-628C-4178-8825-A36908DB4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6" name="Oval 23">
              <a:extLst>
                <a:ext uri="{FF2B5EF4-FFF2-40B4-BE49-F238E27FC236}">
                  <a16:creationId xmlns:a16="http://schemas.microsoft.com/office/drawing/2014/main" id="{74EB880B-4772-409F-9427-3C24AC129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7" name="Oval 24">
              <a:extLst>
                <a:ext uri="{FF2B5EF4-FFF2-40B4-BE49-F238E27FC236}">
                  <a16:creationId xmlns:a16="http://schemas.microsoft.com/office/drawing/2014/main" id="{5192193E-BC04-409B-A12A-9EC98D2D1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8" name="Freeform 25">
              <a:extLst>
                <a:ext uri="{FF2B5EF4-FFF2-40B4-BE49-F238E27FC236}">
                  <a16:creationId xmlns:a16="http://schemas.microsoft.com/office/drawing/2014/main" id="{2A7F1686-C350-4AC3-9FE3-C34073AC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9" name="Freeform 26">
              <a:extLst>
                <a:ext uri="{FF2B5EF4-FFF2-40B4-BE49-F238E27FC236}">
                  <a16:creationId xmlns:a16="http://schemas.microsoft.com/office/drawing/2014/main" id="{8F54CFF4-283F-4F17-9D91-E8BB3503C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0" name="Freeform 27">
              <a:extLst>
                <a:ext uri="{FF2B5EF4-FFF2-40B4-BE49-F238E27FC236}">
                  <a16:creationId xmlns:a16="http://schemas.microsoft.com/office/drawing/2014/main" id="{4A3FB082-3DE9-4BC4-8718-EFC7DBBA2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1" name="Freeform 28">
              <a:extLst>
                <a:ext uri="{FF2B5EF4-FFF2-40B4-BE49-F238E27FC236}">
                  <a16:creationId xmlns:a16="http://schemas.microsoft.com/office/drawing/2014/main" id="{8436467B-8914-422C-9469-05E8BDF3E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2" name="Freeform 29">
              <a:extLst>
                <a:ext uri="{FF2B5EF4-FFF2-40B4-BE49-F238E27FC236}">
                  <a16:creationId xmlns:a16="http://schemas.microsoft.com/office/drawing/2014/main" id="{9A17E4B3-7C71-4B00-9805-B46DE126E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3" name="Rectangle 30">
              <a:extLst>
                <a:ext uri="{FF2B5EF4-FFF2-40B4-BE49-F238E27FC236}">
                  <a16:creationId xmlns:a16="http://schemas.microsoft.com/office/drawing/2014/main" id="{9DE3C726-D714-4EDF-BBEA-00C3D77F2A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4" name="Rectangle 31">
              <a:extLst>
                <a:ext uri="{FF2B5EF4-FFF2-40B4-BE49-F238E27FC236}">
                  <a16:creationId xmlns:a16="http://schemas.microsoft.com/office/drawing/2014/main" id="{023670C0-B321-4C90-BC7A-44033C2B4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5" name="Rectangle 32">
              <a:extLst>
                <a:ext uri="{FF2B5EF4-FFF2-40B4-BE49-F238E27FC236}">
                  <a16:creationId xmlns:a16="http://schemas.microsoft.com/office/drawing/2014/main" id="{A65B4DFD-88E3-4D13-A159-448A498A2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6" name="Rectangle 33">
              <a:extLst>
                <a:ext uri="{FF2B5EF4-FFF2-40B4-BE49-F238E27FC236}">
                  <a16:creationId xmlns:a16="http://schemas.microsoft.com/office/drawing/2014/main" id="{7C791AB0-B986-476B-917D-99EF307D3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157" name="Freeform 7">
            <a:extLst>
              <a:ext uri="{FF2B5EF4-FFF2-40B4-BE49-F238E27FC236}">
                <a16:creationId xmlns:a16="http://schemas.microsoft.com/office/drawing/2014/main" id="{6EEBB929-53A7-42F8-8771-C778CAFAE0F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auto">
          <a:xfrm>
            <a:off x="9630274" y="1466812"/>
            <a:ext cx="1988876" cy="4069421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  <p:sp>
        <p:nvSpPr>
          <p:cNvPr id="158" name="Freeform 7">
            <a:extLst>
              <a:ext uri="{FF2B5EF4-FFF2-40B4-BE49-F238E27FC236}">
                <a16:creationId xmlns:a16="http://schemas.microsoft.com/office/drawing/2014/main" id="{DC4C5B07-50E3-41D7-AE59-14BCDD6EF0B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auto">
          <a:xfrm>
            <a:off x="5309975" y="1466511"/>
            <a:ext cx="1988876" cy="4069421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  <p:grpSp>
        <p:nvGrpSpPr>
          <p:cNvPr id="159" name="Группа 184">
            <a:extLst>
              <a:ext uri="{FF2B5EF4-FFF2-40B4-BE49-F238E27FC236}">
                <a16:creationId xmlns:a16="http://schemas.microsoft.com/office/drawing/2014/main" id="{A73DAD4A-6F7E-42DB-992C-0E7C6EF4B200}"/>
              </a:ext>
            </a:extLst>
          </p:cNvPr>
          <p:cNvGrpSpPr/>
          <p:nvPr/>
        </p:nvGrpSpPr>
        <p:grpSpPr>
          <a:xfrm>
            <a:off x="7029285" y="669317"/>
            <a:ext cx="2833273" cy="5400200"/>
            <a:chOff x="-3543474" y="-4875029"/>
            <a:chExt cx="3414714" cy="6508770"/>
          </a:xfrm>
          <a:effectLst/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id="{7F870284-FBEB-4E85-8BDF-759246ED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650877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id="{BCB16AD3-7571-4CC0-94BE-8326A52A9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1" y="-4816291"/>
              <a:ext cx="3240089" cy="639129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2" name="Freeform 8">
              <a:extLst>
                <a:ext uri="{FF2B5EF4-FFF2-40B4-BE49-F238E27FC236}">
                  <a16:creationId xmlns:a16="http://schemas.microsoft.com/office/drawing/2014/main" id="{F4D84CCC-C72C-4217-B1D7-DAA9C0610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5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3" name="Freeform 9">
              <a:extLst>
                <a:ext uri="{FF2B5EF4-FFF2-40B4-BE49-F238E27FC236}">
                  <a16:creationId xmlns:a16="http://schemas.microsoft.com/office/drawing/2014/main" id="{80BD5B8C-C2E5-4184-BC35-E8AF2262E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463737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id="{6B809883-9CA8-471C-A49B-40B17769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916176"/>
              <a:ext cx="28575" cy="209551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id="{B04F2FC6-4CE3-44F4-9E51-B4B7EF957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2943035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id="{B4652012-F362-424E-8E48-4C19CC8C3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1141615"/>
              <a:ext cx="3357564" cy="492126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id="{403F3DE0-7711-4553-A00C-DD299EF39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492126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8" name="Freeform 14">
              <a:extLst>
                <a:ext uri="{FF2B5EF4-FFF2-40B4-BE49-F238E27FC236}">
                  <a16:creationId xmlns:a16="http://schemas.microsoft.com/office/drawing/2014/main" id="{DDCA2B92-D1F3-4677-B1B8-5BCE21512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6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9" name="Oval 15">
              <a:extLst>
                <a:ext uri="{FF2B5EF4-FFF2-40B4-BE49-F238E27FC236}">
                  <a16:creationId xmlns:a16="http://schemas.microsoft.com/office/drawing/2014/main" id="{A5B87625-0852-4B02-8D66-B0F655B7B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54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0" name="Oval 16">
              <a:extLst>
                <a:ext uri="{FF2B5EF4-FFF2-40B4-BE49-F238E27FC236}">
                  <a16:creationId xmlns:a16="http://schemas.microsoft.com/office/drawing/2014/main" id="{4A9A7993-26E0-4FED-B4B2-B94C5B968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6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1" name="Oval 17">
              <a:extLst>
                <a:ext uri="{FF2B5EF4-FFF2-40B4-BE49-F238E27FC236}">
                  <a16:creationId xmlns:a16="http://schemas.microsoft.com/office/drawing/2014/main" id="{68308D50-8F81-4022-8E5C-9BBC7BA3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4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2" name="Oval 18">
              <a:extLst>
                <a:ext uri="{FF2B5EF4-FFF2-40B4-BE49-F238E27FC236}">
                  <a16:creationId xmlns:a16="http://schemas.microsoft.com/office/drawing/2014/main" id="{5FEAFC20-F747-4510-A4DF-8C55DC16A2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54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3" name="Oval 19">
              <a:extLst>
                <a:ext uri="{FF2B5EF4-FFF2-40B4-BE49-F238E27FC236}">
                  <a16:creationId xmlns:a16="http://schemas.microsoft.com/office/drawing/2014/main" id="{D4CAD4C0-F3BA-4A4A-9E73-C2FC54395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40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4" name="Oval 20">
              <a:extLst>
                <a:ext uri="{FF2B5EF4-FFF2-40B4-BE49-F238E27FC236}">
                  <a16:creationId xmlns:a16="http://schemas.microsoft.com/office/drawing/2014/main" id="{BBD7D811-6A31-49FF-ACE0-05D34BECA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9" y="-4694054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5" name="Oval 21">
              <a:extLst>
                <a:ext uri="{FF2B5EF4-FFF2-40B4-BE49-F238E27FC236}">
                  <a16:creationId xmlns:a16="http://schemas.microsoft.com/office/drawing/2014/main" id="{2C50A87F-800C-48D1-83FC-33A049CB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6" name="Oval 22">
              <a:extLst>
                <a:ext uri="{FF2B5EF4-FFF2-40B4-BE49-F238E27FC236}">
                  <a16:creationId xmlns:a16="http://schemas.microsoft.com/office/drawing/2014/main" id="{177681EF-E995-4F5A-ADE6-1E0D4A5916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7" name="Oval 23">
              <a:extLst>
                <a:ext uri="{FF2B5EF4-FFF2-40B4-BE49-F238E27FC236}">
                  <a16:creationId xmlns:a16="http://schemas.microsoft.com/office/drawing/2014/main" id="{FBAA2201-7D2A-42B3-8D79-7F9D81E1E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54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8" name="Oval 24">
              <a:extLst>
                <a:ext uri="{FF2B5EF4-FFF2-40B4-BE49-F238E27FC236}">
                  <a16:creationId xmlns:a16="http://schemas.microsoft.com/office/drawing/2014/main" id="{2F111A11-F006-407D-9223-0DC37AE09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41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9" name="Freeform 25">
              <a:extLst>
                <a:ext uri="{FF2B5EF4-FFF2-40B4-BE49-F238E27FC236}">
                  <a16:creationId xmlns:a16="http://schemas.microsoft.com/office/drawing/2014/main" id="{9322A272-C0A9-4E1A-A267-771FFF0D9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916177"/>
              <a:ext cx="9525" cy="209551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0" name="Freeform 26">
              <a:extLst>
                <a:ext uri="{FF2B5EF4-FFF2-40B4-BE49-F238E27FC236}">
                  <a16:creationId xmlns:a16="http://schemas.microsoft.com/office/drawing/2014/main" id="{155B25F2-F34A-4CA9-9999-187805469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463737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1" name="Freeform 27">
              <a:extLst>
                <a:ext uri="{FF2B5EF4-FFF2-40B4-BE49-F238E27FC236}">
                  <a16:creationId xmlns:a16="http://schemas.microsoft.com/office/drawing/2014/main" id="{7E0F33CB-A556-417E-818F-E850CB4B0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2943035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2" name="Freeform 28">
              <a:extLst>
                <a:ext uri="{FF2B5EF4-FFF2-40B4-BE49-F238E27FC236}">
                  <a16:creationId xmlns:a16="http://schemas.microsoft.com/office/drawing/2014/main" id="{B4AD8304-FF25-4C01-A29C-62B44B285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28575" cy="787402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5B82E5E9-3946-4EFF-8DE7-DE46097A0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9525" cy="787402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4" name="Rectangle 30">
              <a:extLst>
                <a:ext uri="{FF2B5EF4-FFF2-40B4-BE49-F238E27FC236}">
                  <a16:creationId xmlns:a16="http://schemas.microsoft.com/office/drawing/2014/main" id="{1BD3D1AB-5491-4EF6-947D-564E47F34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4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5" name="Rectangle 31">
              <a:extLst>
                <a:ext uri="{FF2B5EF4-FFF2-40B4-BE49-F238E27FC236}">
                  <a16:creationId xmlns:a16="http://schemas.microsoft.com/office/drawing/2014/main" id="{F5E3270B-6F6B-45B0-86EC-29E7A7125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9" y="766963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6" name="Rectangle 32">
              <a:extLst>
                <a:ext uri="{FF2B5EF4-FFF2-40B4-BE49-F238E27FC236}">
                  <a16:creationId xmlns:a16="http://schemas.microsoft.com/office/drawing/2014/main" id="{BA362EFC-D4BE-45D1-95C0-2DBD5202A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6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7" name="Rectangle 33">
              <a:extLst>
                <a:ext uri="{FF2B5EF4-FFF2-40B4-BE49-F238E27FC236}">
                  <a16:creationId xmlns:a16="http://schemas.microsoft.com/office/drawing/2014/main" id="{917968E5-62E8-478F-9A3C-FAC2FDA2E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188" name="Freeform 7">
            <a:extLst>
              <a:ext uri="{FF2B5EF4-FFF2-40B4-BE49-F238E27FC236}">
                <a16:creationId xmlns:a16="http://schemas.microsoft.com/office/drawing/2014/main" id="{4C7F7092-F2F5-49BD-9BF3-233E4A80C85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7203509" y="813317"/>
            <a:ext cx="2509559" cy="5134783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ru-RU"/>
          </a:p>
        </p:txBody>
      </p:sp>
      <p:sp>
        <p:nvSpPr>
          <p:cNvPr id="189" name="Content Placeholder 6"/>
          <p:cNvSpPr>
            <a:spLocks noGrp="1"/>
          </p:cNvSpPr>
          <p:nvPr>
            <p:ph sz="quarter" idx="14"/>
          </p:nvPr>
        </p:nvSpPr>
        <p:spPr>
          <a:xfrm>
            <a:off x="520705" y="2013449"/>
            <a:ext cx="4165867" cy="34583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8564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/>
        </p:nvSpPr>
        <p:spPr>
          <a:xfrm flipV="1">
            <a:off x="0" y="1"/>
            <a:ext cx="12192000" cy="204253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4284291" cy="12827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2" name="Группа 113">
            <a:extLst>
              <a:ext uri="{FF2B5EF4-FFF2-40B4-BE49-F238E27FC236}">
                <a16:creationId xmlns:a16="http://schemas.microsoft.com/office/drawing/2014/main" id="{C4912257-2FF5-4D3C-9F13-AD19C842C63E}"/>
              </a:ext>
            </a:extLst>
          </p:cNvPr>
          <p:cNvGrpSpPr/>
          <p:nvPr/>
        </p:nvGrpSpPr>
        <p:grpSpPr>
          <a:xfrm>
            <a:off x="5242769" y="801014"/>
            <a:ext cx="3481353" cy="4909919"/>
            <a:chOff x="858665" y="-6595864"/>
            <a:chExt cx="5972175" cy="8423276"/>
          </a:xfrm>
          <a:effectLst>
            <a:reflection blurRad="50800" stA="50000" endPos="8000" dir="5400000" sy="-100000" algn="bl" rotWithShape="0"/>
          </a:effectLst>
        </p:grpSpPr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C5BD4CFF-37C1-481B-A120-859600878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002" y="-6567289"/>
              <a:ext cx="5905500" cy="8361363"/>
            </a:xfrm>
            <a:custGeom>
              <a:avLst/>
              <a:gdLst>
                <a:gd name="T0" fmla="*/ 56 w 1214"/>
                <a:gd name="T1" fmla="*/ 1719 h 1719"/>
                <a:gd name="T2" fmla="*/ 0 w 1214"/>
                <a:gd name="T3" fmla="*/ 1663 h 1719"/>
                <a:gd name="T4" fmla="*/ 0 w 1214"/>
                <a:gd name="T5" fmla="*/ 57 h 1719"/>
                <a:gd name="T6" fmla="*/ 56 w 1214"/>
                <a:gd name="T7" fmla="*/ 0 h 1719"/>
                <a:gd name="T8" fmla="*/ 1158 w 1214"/>
                <a:gd name="T9" fmla="*/ 0 h 1719"/>
                <a:gd name="T10" fmla="*/ 1214 w 1214"/>
                <a:gd name="T11" fmla="*/ 57 h 1719"/>
                <a:gd name="T12" fmla="*/ 1214 w 1214"/>
                <a:gd name="T13" fmla="*/ 1663 h 1719"/>
                <a:gd name="T14" fmla="*/ 1158 w 1214"/>
                <a:gd name="T15" fmla="*/ 1719 h 1719"/>
                <a:gd name="T16" fmla="*/ 56 w 1214"/>
                <a:gd name="T17" fmla="*/ 1719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4" h="1719">
                  <a:moveTo>
                    <a:pt x="56" y="1719"/>
                  </a:moveTo>
                  <a:cubicBezTo>
                    <a:pt x="25" y="1719"/>
                    <a:pt x="0" y="1694"/>
                    <a:pt x="0" y="166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1158" y="0"/>
                    <a:pt x="1158" y="0"/>
                    <a:pt x="1158" y="0"/>
                  </a:cubicBezTo>
                  <a:cubicBezTo>
                    <a:pt x="1189" y="0"/>
                    <a:pt x="1214" y="26"/>
                    <a:pt x="1214" y="57"/>
                  </a:cubicBezTo>
                  <a:cubicBezTo>
                    <a:pt x="1214" y="1663"/>
                    <a:pt x="1214" y="1663"/>
                    <a:pt x="1214" y="1663"/>
                  </a:cubicBezTo>
                  <a:cubicBezTo>
                    <a:pt x="1214" y="1694"/>
                    <a:pt x="1189" y="1719"/>
                    <a:pt x="1158" y="1719"/>
                  </a:cubicBezTo>
                  <a:lnTo>
                    <a:pt x="56" y="1719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6CE0A69A-8871-46D7-AEEE-E98D29A605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765" y="-6557764"/>
              <a:ext cx="5895975" cy="8347075"/>
            </a:xfrm>
            <a:custGeom>
              <a:avLst/>
              <a:gdLst>
                <a:gd name="T0" fmla="*/ 1157 w 1212"/>
                <a:gd name="T1" fmla="*/ 1716 h 1716"/>
                <a:gd name="T2" fmla="*/ 55 w 1212"/>
                <a:gd name="T3" fmla="*/ 1716 h 1716"/>
                <a:gd name="T4" fmla="*/ 0 w 1212"/>
                <a:gd name="T5" fmla="*/ 1661 h 1716"/>
                <a:gd name="T6" fmla="*/ 0 w 1212"/>
                <a:gd name="T7" fmla="*/ 55 h 1716"/>
                <a:gd name="T8" fmla="*/ 55 w 1212"/>
                <a:gd name="T9" fmla="*/ 0 h 1716"/>
                <a:gd name="T10" fmla="*/ 1157 w 1212"/>
                <a:gd name="T11" fmla="*/ 0 h 1716"/>
                <a:gd name="T12" fmla="*/ 1212 w 1212"/>
                <a:gd name="T13" fmla="*/ 55 h 1716"/>
                <a:gd name="T14" fmla="*/ 1212 w 1212"/>
                <a:gd name="T15" fmla="*/ 1661 h 1716"/>
                <a:gd name="T16" fmla="*/ 1157 w 1212"/>
                <a:gd name="T17" fmla="*/ 1716 h 1716"/>
                <a:gd name="T18" fmla="*/ 55 w 1212"/>
                <a:gd name="T19" fmla="*/ 0 h 1716"/>
                <a:gd name="T20" fmla="*/ 1 w 1212"/>
                <a:gd name="T21" fmla="*/ 55 h 1716"/>
                <a:gd name="T22" fmla="*/ 1 w 1212"/>
                <a:gd name="T23" fmla="*/ 1661 h 1716"/>
                <a:gd name="T24" fmla="*/ 55 w 1212"/>
                <a:gd name="T25" fmla="*/ 1715 h 1716"/>
                <a:gd name="T26" fmla="*/ 1157 w 1212"/>
                <a:gd name="T27" fmla="*/ 1715 h 1716"/>
                <a:gd name="T28" fmla="*/ 1211 w 1212"/>
                <a:gd name="T29" fmla="*/ 1661 h 1716"/>
                <a:gd name="T30" fmla="*/ 1211 w 1212"/>
                <a:gd name="T31" fmla="*/ 55 h 1716"/>
                <a:gd name="T32" fmla="*/ 1157 w 1212"/>
                <a:gd name="T33" fmla="*/ 0 h 1716"/>
                <a:gd name="T34" fmla="*/ 55 w 1212"/>
                <a:gd name="T35" fmla="*/ 0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2" h="1716">
                  <a:moveTo>
                    <a:pt x="1157" y="1716"/>
                  </a:moveTo>
                  <a:cubicBezTo>
                    <a:pt x="55" y="1716"/>
                    <a:pt x="55" y="1716"/>
                    <a:pt x="55" y="1716"/>
                  </a:cubicBezTo>
                  <a:cubicBezTo>
                    <a:pt x="25" y="1716"/>
                    <a:pt x="0" y="1691"/>
                    <a:pt x="0" y="166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1157" y="0"/>
                    <a:pt x="1157" y="0"/>
                    <a:pt x="1157" y="0"/>
                  </a:cubicBezTo>
                  <a:cubicBezTo>
                    <a:pt x="1187" y="0"/>
                    <a:pt x="1212" y="24"/>
                    <a:pt x="1212" y="55"/>
                  </a:cubicBezTo>
                  <a:cubicBezTo>
                    <a:pt x="1212" y="1661"/>
                    <a:pt x="1212" y="1661"/>
                    <a:pt x="1212" y="1661"/>
                  </a:cubicBezTo>
                  <a:cubicBezTo>
                    <a:pt x="1212" y="1691"/>
                    <a:pt x="1187" y="1716"/>
                    <a:pt x="1157" y="1716"/>
                  </a:cubicBezTo>
                  <a:close/>
                  <a:moveTo>
                    <a:pt x="55" y="0"/>
                  </a:moveTo>
                  <a:cubicBezTo>
                    <a:pt x="25" y="0"/>
                    <a:pt x="1" y="25"/>
                    <a:pt x="1" y="55"/>
                  </a:cubicBezTo>
                  <a:cubicBezTo>
                    <a:pt x="1" y="1661"/>
                    <a:pt x="1" y="1661"/>
                    <a:pt x="1" y="1661"/>
                  </a:cubicBezTo>
                  <a:cubicBezTo>
                    <a:pt x="1" y="1691"/>
                    <a:pt x="25" y="1715"/>
                    <a:pt x="55" y="1715"/>
                  </a:cubicBezTo>
                  <a:cubicBezTo>
                    <a:pt x="1157" y="1715"/>
                    <a:pt x="1157" y="1715"/>
                    <a:pt x="1157" y="1715"/>
                  </a:cubicBezTo>
                  <a:cubicBezTo>
                    <a:pt x="1187" y="1715"/>
                    <a:pt x="1211" y="1691"/>
                    <a:pt x="1211" y="1661"/>
                  </a:cubicBezTo>
                  <a:cubicBezTo>
                    <a:pt x="1211" y="55"/>
                    <a:pt x="1211" y="55"/>
                    <a:pt x="1211" y="55"/>
                  </a:cubicBezTo>
                  <a:cubicBezTo>
                    <a:pt x="1211" y="25"/>
                    <a:pt x="1187" y="0"/>
                    <a:pt x="1157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2D72861E-7C7A-4DDA-BC13-1C1488D77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665" y="-6595864"/>
              <a:ext cx="5972175" cy="8423275"/>
            </a:xfrm>
            <a:custGeom>
              <a:avLst/>
              <a:gdLst>
                <a:gd name="T0" fmla="*/ 1165 w 1228"/>
                <a:gd name="T1" fmla="*/ 0 h 1732"/>
                <a:gd name="T2" fmla="*/ 63 w 1228"/>
                <a:gd name="T3" fmla="*/ 0 h 1732"/>
                <a:gd name="T4" fmla="*/ 0 w 1228"/>
                <a:gd name="T5" fmla="*/ 63 h 1732"/>
                <a:gd name="T6" fmla="*/ 0 w 1228"/>
                <a:gd name="T7" fmla="*/ 1669 h 1732"/>
                <a:gd name="T8" fmla="*/ 63 w 1228"/>
                <a:gd name="T9" fmla="*/ 1732 h 1732"/>
                <a:gd name="T10" fmla="*/ 1165 w 1228"/>
                <a:gd name="T11" fmla="*/ 1732 h 1732"/>
                <a:gd name="T12" fmla="*/ 1228 w 1228"/>
                <a:gd name="T13" fmla="*/ 1669 h 1732"/>
                <a:gd name="T14" fmla="*/ 1228 w 1228"/>
                <a:gd name="T15" fmla="*/ 63 h 1732"/>
                <a:gd name="T16" fmla="*/ 1165 w 1228"/>
                <a:gd name="T17" fmla="*/ 0 h 1732"/>
                <a:gd name="T18" fmla="*/ 1221 w 1228"/>
                <a:gd name="T19" fmla="*/ 1669 h 1732"/>
                <a:gd name="T20" fmla="*/ 1165 w 1228"/>
                <a:gd name="T21" fmla="*/ 1725 h 1732"/>
                <a:gd name="T22" fmla="*/ 63 w 1228"/>
                <a:gd name="T23" fmla="*/ 1725 h 1732"/>
                <a:gd name="T24" fmla="*/ 7 w 1228"/>
                <a:gd name="T25" fmla="*/ 1669 h 1732"/>
                <a:gd name="T26" fmla="*/ 7 w 1228"/>
                <a:gd name="T27" fmla="*/ 63 h 1732"/>
                <a:gd name="T28" fmla="*/ 63 w 1228"/>
                <a:gd name="T29" fmla="*/ 6 h 1732"/>
                <a:gd name="T30" fmla="*/ 1165 w 1228"/>
                <a:gd name="T31" fmla="*/ 6 h 1732"/>
                <a:gd name="T32" fmla="*/ 1221 w 1228"/>
                <a:gd name="T33" fmla="*/ 63 h 1732"/>
                <a:gd name="T34" fmla="*/ 1221 w 1228"/>
                <a:gd name="T35" fmla="*/ 1669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8" h="1732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1669"/>
                    <a:pt x="0" y="1669"/>
                    <a:pt x="0" y="1669"/>
                  </a:cubicBezTo>
                  <a:cubicBezTo>
                    <a:pt x="0" y="1703"/>
                    <a:pt x="28" y="1732"/>
                    <a:pt x="63" y="1732"/>
                  </a:cubicBezTo>
                  <a:cubicBezTo>
                    <a:pt x="1165" y="1732"/>
                    <a:pt x="1165" y="1732"/>
                    <a:pt x="1165" y="1732"/>
                  </a:cubicBezTo>
                  <a:cubicBezTo>
                    <a:pt x="1200" y="1732"/>
                    <a:pt x="1228" y="1703"/>
                    <a:pt x="1228" y="1669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  <a:moveTo>
                    <a:pt x="1221" y="1669"/>
                  </a:moveTo>
                  <a:cubicBezTo>
                    <a:pt x="1221" y="1700"/>
                    <a:pt x="1196" y="1725"/>
                    <a:pt x="1165" y="1725"/>
                  </a:cubicBezTo>
                  <a:cubicBezTo>
                    <a:pt x="63" y="1725"/>
                    <a:pt x="63" y="1725"/>
                    <a:pt x="63" y="1725"/>
                  </a:cubicBezTo>
                  <a:cubicBezTo>
                    <a:pt x="32" y="1725"/>
                    <a:pt x="7" y="1700"/>
                    <a:pt x="7" y="1669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lnTo>
                    <a:pt x="1221" y="1669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1AD0090A-182B-4C76-9FD2-74195ED2B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077" y="1278136"/>
              <a:ext cx="388938" cy="346075"/>
            </a:xfrm>
            <a:custGeom>
              <a:avLst/>
              <a:gdLst>
                <a:gd name="T0" fmla="*/ 1 w 80"/>
                <a:gd name="T1" fmla="*/ 42 h 71"/>
                <a:gd name="T2" fmla="*/ 41 w 80"/>
                <a:gd name="T3" fmla="*/ 2 h 71"/>
                <a:gd name="T4" fmla="*/ 80 w 80"/>
                <a:gd name="T5" fmla="*/ 41 h 71"/>
                <a:gd name="T6" fmla="*/ 80 w 80"/>
                <a:gd name="T7" fmla="*/ 40 h 71"/>
                <a:gd name="T8" fmla="*/ 40 w 80"/>
                <a:gd name="T9" fmla="*/ 0 h 71"/>
                <a:gd name="T10" fmla="*/ 0 w 80"/>
                <a:gd name="T11" fmla="*/ 40 h 71"/>
                <a:gd name="T12" fmla="*/ 15 w 80"/>
                <a:gd name="T13" fmla="*/ 71 h 71"/>
                <a:gd name="T14" fmla="*/ 1 w 80"/>
                <a:gd name="T15" fmla="*/ 4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71">
                  <a:moveTo>
                    <a:pt x="1" y="42"/>
                  </a:moveTo>
                  <a:cubicBezTo>
                    <a:pt x="1" y="20"/>
                    <a:pt x="19" y="2"/>
                    <a:pt x="41" y="2"/>
                  </a:cubicBezTo>
                  <a:cubicBezTo>
                    <a:pt x="62" y="2"/>
                    <a:pt x="80" y="19"/>
                    <a:pt x="80" y="41"/>
                  </a:cubicBezTo>
                  <a:cubicBezTo>
                    <a:pt x="80" y="41"/>
                    <a:pt x="80" y="40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3"/>
                    <a:pt x="6" y="64"/>
                    <a:pt x="15" y="71"/>
                  </a:cubicBezTo>
                  <a:cubicBezTo>
                    <a:pt x="6" y="64"/>
                    <a:pt x="1" y="53"/>
                    <a:pt x="1" y="42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BC2E1EF4-85B1-4761-B5C9-7D02E138C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365" y="1341636"/>
              <a:ext cx="369888" cy="330200"/>
            </a:xfrm>
            <a:custGeom>
              <a:avLst/>
              <a:gdLst>
                <a:gd name="T0" fmla="*/ 75 w 76"/>
                <a:gd name="T1" fmla="*/ 28 h 68"/>
                <a:gd name="T2" fmla="*/ 37 w 76"/>
                <a:gd name="T3" fmla="*/ 66 h 68"/>
                <a:gd name="T4" fmla="*/ 0 w 76"/>
                <a:gd name="T5" fmla="*/ 29 h 68"/>
                <a:gd name="T6" fmla="*/ 0 w 76"/>
                <a:gd name="T7" fmla="*/ 30 h 68"/>
                <a:gd name="T8" fmla="*/ 38 w 76"/>
                <a:gd name="T9" fmla="*/ 68 h 68"/>
                <a:gd name="T10" fmla="*/ 76 w 76"/>
                <a:gd name="T11" fmla="*/ 30 h 68"/>
                <a:gd name="T12" fmla="*/ 62 w 76"/>
                <a:gd name="T13" fmla="*/ 0 h 68"/>
                <a:gd name="T14" fmla="*/ 75 w 76"/>
                <a:gd name="T15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68">
                  <a:moveTo>
                    <a:pt x="75" y="28"/>
                  </a:moveTo>
                  <a:cubicBezTo>
                    <a:pt x="75" y="49"/>
                    <a:pt x="58" y="66"/>
                    <a:pt x="37" y="66"/>
                  </a:cubicBezTo>
                  <a:cubicBezTo>
                    <a:pt x="17" y="66"/>
                    <a:pt x="0" y="50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51"/>
                    <a:pt x="17" y="68"/>
                    <a:pt x="38" y="68"/>
                  </a:cubicBezTo>
                  <a:cubicBezTo>
                    <a:pt x="59" y="68"/>
                    <a:pt x="76" y="51"/>
                    <a:pt x="76" y="30"/>
                  </a:cubicBezTo>
                  <a:cubicBezTo>
                    <a:pt x="76" y="18"/>
                    <a:pt x="71" y="7"/>
                    <a:pt x="62" y="0"/>
                  </a:cubicBezTo>
                  <a:cubicBezTo>
                    <a:pt x="70" y="7"/>
                    <a:pt x="75" y="17"/>
                    <a:pt x="75" y="28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8" name="Oval 39">
              <a:extLst>
                <a:ext uri="{FF2B5EF4-FFF2-40B4-BE49-F238E27FC236}">
                  <a16:creationId xmlns:a16="http://schemas.microsoft.com/office/drawing/2014/main" id="{0665C39F-9BFC-4DAC-85E4-C6B14B37F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5365" y="1292424"/>
              <a:ext cx="369888" cy="365125"/>
            </a:xfrm>
            <a:prstGeom prst="ellipse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59" name="Oval 40">
              <a:extLst>
                <a:ext uri="{FF2B5EF4-FFF2-40B4-BE49-F238E27FC236}">
                  <a16:creationId xmlns:a16="http://schemas.microsoft.com/office/drawing/2014/main" id="{304B3003-459F-40E4-8A92-4CDBC7325C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6015" y="-6324401"/>
              <a:ext cx="117475" cy="112713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0" name="Oval 41">
              <a:extLst>
                <a:ext uri="{FF2B5EF4-FFF2-40B4-BE49-F238E27FC236}">
                  <a16:creationId xmlns:a16="http://schemas.microsoft.com/office/drawing/2014/main" id="{7E20D0EC-D916-4C39-82B9-9687B6D8D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1415" y="-6303764"/>
              <a:ext cx="68263" cy="73025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1" name="Rectangle 42">
              <a:extLst>
                <a:ext uri="{FF2B5EF4-FFF2-40B4-BE49-F238E27FC236}">
                  <a16:creationId xmlns:a16="http://schemas.microsoft.com/office/drawing/2014/main" id="{E66642F0-CFFF-412D-ABE6-901A008D3B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152" y="-5914826"/>
              <a:ext cx="5283200" cy="7067550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410762F2-33DD-4B4B-B6A2-8153B1C65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6595864"/>
              <a:ext cx="5972175" cy="3014663"/>
            </a:xfrm>
            <a:custGeom>
              <a:avLst/>
              <a:gdLst>
                <a:gd name="T0" fmla="*/ 1165 w 1228"/>
                <a:gd name="T1" fmla="*/ 0 h 620"/>
                <a:gd name="T2" fmla="*/ 63 w 1228"/>
                <a:gd name="T3" fmla="*/ 0 h 620"/>
                <a:gd name="T4" fmla="*/ 0 w 1228"/>
                <a:gd name="T5" fmla="*/ 63 h 620"/>
                <a:gd name="T6" fmla="*/ 0 w 1228"/>
                <a:gd name="T7" fmla="*/ 620 h 620"/>
                <a:gd name="T8" fmla="*/ 7 w 1228"/>
                <a:gd name="T9" fmla="*/ 63 h 620"/>
                <a:gd name="T10" fmla="*/ 63 w 1228"/>
                <a:gd name="T11" fmla="*/ 6 h 620"/>
                <a:gd name="T12" fmla="*/ 1165 w 1228"/>
                <a:gd name="T13" fmla="*/ 6 h 620"/>
                <a:gd name="T14" fmla="*/ 1221 w 1228"/>
                <a:gd name="T15" fmla="*/ 63 h 620"/>
                <a:gd name="T16" fmla="*/ 1228 w 1228"/>
                <a:gd name="T17" fmla="*/ 620 h 620"/>
                <a:gd name="T18" fmla="*/ 1228 w 1228"/>
                <a:gd name="T19" fmla="*/ 63 h 620"/>
                <a:gd name="T20" fmla="*/ 1165 w 1228"/>
                <a:gd name="T21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620"/>
                    <a:pt x="0" y="620"/>
                    <a:pt x="0" y="620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cubicBezTo>
                    <a:pt x="1228" y="620"/>
                    <a:pt x="1228" y="620"/>
                    <a:pt x="1228" y="620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CAFB2F98-D4D1-4F98-87CC-B291213FA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1187251"/>
              <a:ext cx="5972175" cy="3014663"/>
            </a:xfrm>
            <a:custGeom>
              <a:avLst/>
              <a:gdLst>
                <a:gd name="T0" fmla="*/ 1221 w 1228"/>
                <a:gd name="T1" fmla="*/ 557 h 620"/>
                <a:gd name="T2" fmla="*/ 1165 w 1228"/>
                <a:gd name="T3" fmla="*/ 613 h 620"/>
                <a:gd name="T4" fmla="*/ 63 w 1228"/>
                <a:gd name="T5" fmla="*/ 613 h 620"/>
                <a:gd name="T6" fmla="*/ 7 w 1228"/>
                <a:gd name="T7" fmla="*/ 557 h 620"/>
                <a:gd name="T8" fmla="*/ 0 w 1228"/>
                <a:gd name="T9" fmla="*/ 0 h 620"/>
                <a:gd name="T10" fmla="*/ 0 w 1228"/>
                <a:gd name="T11" fmla="*/ 557 h 620"/>
                <a:gd name="T12" fmla="*/ 63 w 1228"/>
                <a:gd name="T13" fmla="*/ 620 h 620"/>
                <a:gd name="T14" fmla="*/ 1165 w 1228"/>
                <a:gd name="T15" fmla="*/ 620 h 620"/>
                <a:gd name="T16" fmla="*/ 1228 w 1228"/>
                <a:gd name="T17" fmla="*/ 557 h 620"/>
                <a:gd name="T18" fmla="*/ 1228 w 1228"/>
                <a:gd name="T19" fmla="*/ 0 h 620"/>
                <a:gd name="T20" fmla="*/ 1221 w 1228"/>
                <a:gd name="T21" fmla="*/ 55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221" y="557"/>
                  </a:moveTo>
                  <a:cubicBezTo>
                    <a:pt x="1221" y="588"/>
                    <a:pt x="1196" y="613"/>
                    <a:pt x="1165" y="613"/>
                  </a:cubicBezTo>
                  <a:cubicBezTo>
                    <a:pt x="63" y="613"/>
                    <a:pt x="63" y="613"/>
                    <a:pt x="63" y="613"/>
                  </a:cubicBezTo>
                  <a:cubicBezTo>
                    <a:pt x="32" y="613"/>
                    <a:pt x="7" y="588"/>
                    <a:pt x="7" y="55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57"/>
                    <a:pt x="0" y="557"/>
                    <a:pt x="0" y="557"/>
                  </a:cubicBezTo>
                  <a:cubicBezTo>
                    <a:pt x="0" y="591"/>
                    <a:pt x="28" y="620"/>
                    <a:pt x="63" y="620"/>
                  </a:cubicBezTo>
                  <a:cubicBezTo>
                    <a:pt x="1165" y="620"/>
                    <a:pt x="1165" y="620"/>
                    <a:pt x="1165" y="620"/>
                  </a:cubicBezTo>
                  <a:cubicBezTo>
                    <a:pt x="1200" y="620"/>
                    <a:pt x="1228" y="591"/>
                    <a:pt x="1228" y="557"/>
                  </a:cubicBezTo>
                  <a:cubicBezTo>
                    <a:pt x="1228" y="0"/>
                    <a:pt x="1228" y="0"/>
                    <a:pt x="1228" y="0"/>
                  </a:cubicBezTo>
                  <a:lnTo>
                    <a:pt x="1221" y="557"/>
                  </a:ln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64" name="Рисунок 21">
            <a:extLst>
              <a:ext uri="{FF2B5EF4-FFF2-40B4-BE49-F238E27FC236}">
                <a16:creationId xmlns:a16="http://schemas.microsoft.com/office/drawing/2014/main" id="{92638155-1F68-4422-A43E-8C234CAF062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410990" y="1210095"/>
            <a:ext cx="3082505" cy="4127005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 dirty="0"/>
            </a:lvl1pPr>
          </a:lstStyle>
          <a:p>
            <a:pPr lvl="0" algn="ctr"/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14"/>
          </p:nvPr>
        </p:nvSpPr>
        <p:spPr>
          <a:xfrm>
            <a:off x="520705" y="2233145"/>
            <a:ext cx="4165867" cy="3458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723111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/>
        </p:nvSpPr>
        <p:spPr>
          <a:xfrm flipV="1">
            <a:off x="0" y="1"/>
            <a:ext cx="12192000" cy="20425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8" y="511079"/>
            <a:ext cx="4320991" cy="12827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Content Placeholder 6"/>
          <p:cNvSpPr>
            <a:spLocks noGrp="1"/>
          </p:cNvSpPr>
          <p:nvPr>
            <p:ph sz="quarter" idx="14"/>
          </p:nvPr>
        </p:nvSpPr>
        <p:spPr>
          <a:xfrm>
            <a:off x="520705" y="2233145"/>
            <a:ext cx="4165867" cy="3458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4" name="Группа 113">
            <a:extLst>
              <a:ext uri="{FF2B5EF4-FFF2-40B4-BE49-F238E27FC236}">
                <a16:creationId xmlns:a16="http://schemas.microsoft.com/office/drawing/2014/main" id="{C4912257-2FF5-4D3C-9F13-AD19C842C63E}"/>
              </a:ext>
            </a:extLst>
          </p:cNvPr>
          <p:cNvGrpSpPr/>
          <p:nvPr/>
        </p:nvGrpSpPr>
        <p:grpSpPr>
          <a:xfrm>
            <a:off x="5242769" y="801014"/>
            <a:ext cx="3481353" cy="4909919"/>
            <a:chOff x="858665" y="-6595864"/>
            <a:chExt cx="5972175" cy="8423276"/>
          </a:xfrm>
          <a:effectLst>
            <a:reflection blurRad="50800" stA="50000" endPos="8000" dir="5400000" sy="-100000" algn="bl" rotWithShape="0"/>
          </a:effectLst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C5BD4CFF-37C1-481B-A120-859600878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002" y="-6567289"/>
              <a:ext cx="5905500" cy="8361363"/>
            </a:xfrm>
            <a:custGeom>
              <a:avLst/>
              <a:gdLst>
                <a:gd name="T0" fmla="*/ 56 w 1214"/>
                <a:gd name="T1" fmla="*/ 1719 h 1719"/>
                <a:gd name="T2" fmla="*/ 0 w 1214"/>
                <a:gd name="T3" fmla="*/ 1663 h 1719"/>
                <a:gd name="T4" fmla="*/ 0 w 1214"/>
                <a:gd name="T5" fmla="*/ 57 h 1719"/>
                <a:gd name="T6" fmla="*/ 56 w 1214"/>
                <a:gd name="T7" fmla="*/ 0 h 1719"/>
                <a:gd name="T8" fmla="*/ 1158 w 1214"/>
                <a:gd name="T9" fmla="*/ 0 h 1719"/>
                <a:gd name="T10" fmla="*/ 1214 w 1214"/>
                <a:gd name="T11" fmla="*/ 57 h 1719"/>
                <a:gd name="T12" fmla="*/ 1214 w 1214"/>
                <a:gd name="T13" fmla="*/ 1663 h 1719"/>
                <a:gd name="T14" fmla="*/ 1158 w 1214"/>
                <a:gd name="T15" fmla="*/ 1719 h 1719"/>
                <a:gd name="T16" fmla="*/ 56 w 1214"/>
                <a:gd name="T17" fmla="*/ 1719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4" h="1719">
                  <a:moveTo>
                    <a:pt x="56" y="1719"/>
                  </a:moveTo>
                  <a:cubicBezTo>
                    <a:pt x="25" y="1719"/>
                    <a:pt x="0" y="1694"/>
                    <a:pt x="0" y="166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1158" y="0"/>
                    <a:pt x="1158" y="0"/>
                    <a:pt x="1158" y="0"/>
                  </a:cubicBezTo>
                  <a:cubicBezTo>
                    <a:pt x="1189" y="0"/>
                    <a:pt x="1214" y="26"/>
                    <a:pt x="1214" y="57"/>
                  </a:cubicBezTo>
                  <a:cubicBezTo>
                    <a:pt x="1214" y="1663"/>
                    <a:pt x="1214" y="1663"/>
                    <a:pt x="1214" y="1663"/>
                  </a:cubicBezTo>
                  <a:cubicBezTo>
                    <a:pt x="1214" y="1694"/>
                    <a:pt x="1189" y="1719"/>
                    <a:pt x="1158" y="1719"/>
                  </a:cubicBezTo>
                  <a:lnTo>
                    <a:pt x="56" y="1719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6CE0A69A-8871-46D7-AEEE-E98D29A605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765" y="-6557764"/>
              <a:ext cx="5895975" cy="8347075"/>
            </a:xfrm>
            <a:custGeom>
              <a:avLst/>
              <a:gdLst>
                <a:gd name="T0" fmla="*/ 1157 w 1212"/>
                <a:gd name="T1" fmla="*/ 1716 h 1716"/>
                <a:gd name="T2" fmla="*/ 55 w 1212"/>
                <a:gd name="T3" fmla="*/ 1716 h 1716"/>
                <a:gd name="T4" fmla="*/ 0 w 1212"/>
                <a:gd name="T5" fmla="*/ 1661 h 1716"/>
                <a:gd name="T6" fmla="*/ 0 w 1212"/>
                <a:gd name="T7" fmla="*/ 55 h 1716"/>
                <a:gd name="T8" fmla="*/ 55 w 1212"/>
                <a:gd name="T9" fmla="*/ 0 h 1716"/>
                <a:gd name="T10" fmla="*/ 1157 w 1212"/>
                <a:gd name="T11" fmla="*/ 0 h 1716"/>
                <a:gd name="T12" fmla="*/ 1212 w 1212"/>
                <a:gd name="T13" fmla="*/ 55 h 1716"/>
                <a:gd name="T14" fmla="*/ 1212 w 1212"/>
                <a:gd name="T15" fmla="*/ 1661 h 1716"/>
                <a:gd name="T16" fmla="*/ 1157 w 1212"/>
                <a:gd name="T17" fmla="*/ 1716 h 1716"/>
                <a:gd name="T18" fmla="*/ 55 w 1212"/>
                <a:gd name="T19" fmla="*/ 0 h 1716"/>
                <a:gd name="T20" fmla="*/ 1 w 1212"/>
                <a:gd name="T21" fmla="*/ 55 h 1716"/>
                <a:gd name="T22" fmla="*/ 1 w 1212"/>
                <a:gd name="T23" fmla="*/ 1661 h 1716"/>
                <a:gd name="T24" fmla="*/ 55 w 1212"/>
                <a:gd name="T25" fmla="*/ 1715 h 1716"/>
                <a:gd name="T26" fmla="*/ 1157 w 1212"/>
                <a:gd name="T27" fmla="*/ 1715 h 1716"/>
                <a:gd name="T28" fmla="*/ 1211 w 1212"/>
                <a:gd name="T29" fmla="*/ 1661 h 1716"/>
                <a:gd name="T30" fmla="*/ 1211 w 1212"/>
                <a:gd name="T31" fmla="*/ 55 h 1716"/>
                <a:gd name="T32" fmla="*/ 1157 w 1212"/>
                <a:gd name="T33" fmla="*/ 0 h 1716"/>
                <a:gd name="T34" fmla="*/ 55 w 1212"/>
                <a:gd name="T35" fmla="*/ 0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2" h="1716">
                  <a:moveTo>
                    <a:pt x="1157" y="1716"/>
                  </a:moveTo>
                  <a:cubicBezTo>
                    <a:pt x="55" y="1716"/>
                    <a:pt x="55" y="1716"/>
                    <a:pt x="55" y="1716"/>
                  </a:cubicBezTo>
                  <a:cubicBezTo>
                    <a:pt x="25" y="1716"/>
                    <a:pt x="0" y="1691"/>
                    <a:pt x="0" y="166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1157" y="0"/>
                    <a:pt x="1157" y="0"/>
                    <a:pt x="1157" y="0"/>
                  </a:cubicBezTo>
                  <a:cubicBezTo>
                    <a:pt x="1187" y="0"/>
                    <a:pt x="1212" y="24"/>
                    <a:pt x="1212" y="55"/>
                  </a:cubicBezTo>
                  <a:cubicBezTo>
                    <a:pt x="1212" y="1661"/>
                    <a:pt x="1212" y="1661"/>
                    <a:pt x="1212" y="1661"/>
                  </a:cubicBezTo>
                  <a:cubicBezTo>
                    <a:pt x="1212" y="1691"/>
                    <a:pt x="1187" y="1716"/>
                    <a:pt x="1157" y="1716"/>
                  </a:cubicBezTo>
                  <a:close/>
                  <a:moveTo>
                    <a:pt x="55" y="0"/>
                  </a:moveTo>
                  <a:cubicBezTo>
                    <a:pt x="25" y="0"/>
                    <a:pt x="1" y="25"/>
                    <a:pt x="1" y="55"/>
                  </a:cubicBezTo>
                  <a:cubicBezTo>
                    <a:pt x="1" y="1661"/>
                    <a:pt x="1" y="1661"/>
                    <a:pt x="1" y="1661"/>
                  </a:cubicBezTo>
                  <a:cubicBezTo>
                    <a:pt x="1" y="1691"/>
                    <a:pt x="25" y="1715"/>
                    <a:pt x="55" y="1715"/>
                  </a:cubicBezTo>
                  <a:cubicBezTo>
                    <a:pt x="1157" y="1715"/>
                    <a:pt x="1157" y="1715"/>
                    <a:pt x="1157" y="1715"/>
                  </a:cubicBezTo>
                  <a:cubicBezTo>
                    <a:pt x="1187" y="1715"/>
                    <a:pt x="1211" y="1691"/>
                    <a:pt x="1211" y="1661"/>
                  </a:cubicBezTo>
                  <a:cubicBezTo>
                    <a:pt x="1211" y="55"/>
                    <a:pt x="1211" y="55"/>
                    <a:pt x="1211" y="55"/>
                  </a:cubicBezTo>
                  <a:cubicBezTo>
                    <a:pt x="1211" y="25"/>
                    <a:pt x="1187" y="0"/>
                    <a:pt x="1157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2D72861E-7C7A-4DDA-BC13-1C1488D77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665" y="-6595864"/>
              <a:ext cx="5972175" cy="8423275"/>
            </a:xfrm>
            <a:custGeom>
              <a:avLst/>
              <a:gdLst>
                <a:gd name="T0" fmla="*/ 1165 w 1228"/>
                <a:gd name="T1" fmla="*/ 0 h 1732"/>
                <a:gd name="T2" fmla="*/ 63 w 1228"/>
                <a:gd name="T3" fmla="*/ 0 h 1732"/>
                <a:gd name="T4" fmla="*/ 0 w 1228"/>
                <a:gd name="T5" fmla="*/ 63 h 1732"/>
                <a:gd name="T6" fmla="*/ 0 w 1228"/>
                <a:gd name="T7" fmla="*/ 1669 h 1732"/>
                <a:gd name="T8" fmla="*/ 63 w 1228"/>
                <a:gd name="T9" fmla="*/ 1732 h 1732"/>
                <a:gd name="T10" fmla="*/ 1165 w 1228"/>
                <a:gd name="T11" fmla="*/ 1732 h 1732"/>
                <a:gd name="T12" fmla="*/ 1228 w 1228"/>
                <a:gd name="T13" fmla="*/ 1669 h 1732"/>
                <a:gd name="T14" fmla="*/ 1228 w 1228"/>
                <a:gd name="T15" fmla="*/ 63 h 1732"/>
                <a:gd name="T16" fmla="*/ 1165 w 1228"/>
                <a:gd name="T17" fmla="*/ 0 h 1732"/>
                <a:gd name="T18" fmla="*/ 1221 w 1228"/>
                <a:gd name="T19" fmla="*/ 1669 h 1732"/>
                <a:gd name="T20" fmla="*/ 1165 w 1228"/>
                <a:gd name="T21" fmla="*/ 1725 h 1732"/>
                <a:gd name="T22" fmla="*/ 63 w 1228"/>
                <a:gd name="T23" fmla="*/ 1725 h 1732"/>
                <a:gd name="T24" fmla="*/ 7 w 1228"/>
                <a:gd name="T25" fmla="*/ 1669 h 1732"/>
                <a:gd name="T26" fmla="*/ 7 w 1228"/>
                <a:gd name="T27" fmla="*/ 63 h 1732"/>
                <a:gd name="T28" fmla="*/ 63 w 1228"/>
                <a:gd name="T29" fmla="*/ 6 h 1732"/>
                <a:gd name="T30" fmla="*/ 1165 w 1228"/>
                <a:gd name="T31" fmla="*/ 6 h 1732"/>
                <a:gd name="T32" fmla="*/ 1221 w 1228"/>
                <a:gd name="T33" fmla="*/ 63 h 1732"/>
                <a:gd name="T34" fmla="*/ 1221 w 1228"/>
                <a:gd name="T35" fmla="*/ 1669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8" h="1732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1669"/>
                    <a:pt x="0" y="1669"/>
                    <a:pt x="0" y="1669"/>
                  </a:cubicBezTo>
                  <a:cubicBezTo>
                    <a:pt x="0" y="1703"/>
                    <a:pt x="28" y="1732"/>
                    <a:pt x="63" y="1732"/>
                  </a:cubicBezTo>
                  <a:cubicBezTo>
                    <a:pt x="1165" y="1732"/>
                    <a:pt x="1165" y="1732"/>
                    <a:pt x="1165" y="1732"/>
                  </a:cubicBezTo>
                  <a:cubicBezTo>
                    <a:pt x="1200" y="1732"/>
                    <a:pt x="1228" y="1703"/>
                    <a:pt x="1228" y="1669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  <a:moveTo>
                    <a:pt x="1221" y="1669"/>
                  </a:moveTo>
                  <a:cubicBezTo>
                    <a:pt x="1221" y="1700"/>
                    <a:pt x="1196" y="1725"/>
                    <a:pt x="1165" y="1725"/>
                  </a:cubicBezTo>
                  <a:cubicBezTo>
                    <a:pt x="63" y="1725"/>
                    <a:pt x="63" y="1725"/>
                    <a:pt x="63" y="1725"/>
                  </a:cubicBezTo>
                  <a:cubicBezTo>
                    <a:pt x="32" y="1725"/>
                    <a:pt x="7" y="1700"/>
                    <a:pt x="7" y="1669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lnTo>
                    <a:pt x="1221" y="1669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AD0090A-182B-4C76-9FD2-74195ED2B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077" y="1278136"/>
              <a:ext cx="388938" cy="346075"/>
            </a:xfrm>
            <a:custGeom>
              <a:avLst/>
              <a:gdLst>
                <a:gd name="T0" fmla="*/ 1 w 80"/>
                <a:gd name="T1" fmla="*/ 42 h 71"/>
                <a:gd name="T2" fmla="*/ 41 w 80"/>
                <a:gd name="T3" fmla="*/ 2 h 71"/>
                <a:gd name="T4" fmla="*/ 80 w 80"/>
                <a:gd name="T5" fmla="*/ 41 h 71"/>
                <a:gd name="T6" fmla="*/ 80 w 80"/>
                <a:gd name="T7" fmla="*/ 40 h 71"/>
                <a:gd name="T8" fmla="*/ 40 w 80"/>
                <a:gd name="T9" fmla="*/ 0 h 71"/>
                <a:gd name="T10" fmla="*/ 0 w 80"/>
                <a:gd name="T11" fmla="*/ 40 h 71"/>
                <a:gd name="T12" fmla="*/ 15 w 80"/>
                <a:gd name="T13" fmla="*/ 71 h 71"/>
                <a:gd name="T14" fmla="*/ 1 w 80"/>
                <a:gd name="T15" fmla="*/ 4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71">
                  <a:moveTo>
                    <a:pt x="1" y="42"/>
                  </a:moveTo>
                  <a:cubicBezTo>
                    <a:pt x="1" y="20"/>
                    <a:pt x="19" y="2"/>
                    <a:pt x="41" y="2"/>
                  </a:cubicBezTo>
                  <a:cubicBezTo>
                    <a:pt x="62" y="2"/>
                    <a:pt x="80" y="19"/>
                    <a:pt x="80" y="41"/>
                  </a:cubicBezTo>
                  <a:cubicBezTo>
                    <a:pt x="80" y="41"/>
                    <a:pt x="80" y="40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3"/>
                    <a:pt x="6" y="64"/>
                    <a:pt x="15" y="71"/>
                  </a:cubicBezTo>
                  <a:cubicBezTo>
                    <a:pt x="6" y="64"/>
                    <a:pt x="1" y="53"/>
                    <a:pt x="1" y="42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C2E1EF4-85B1-4761-B5C9-7D02E138C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365" y="1341636"/>
              <a:ext cx="369888" cy="330200"/>
            </a:xfrm>
            <a:custGeom>
              <a:avLst/>
              <a:gdLst>
                <a:gd name="T0" fmla="*/ 75 w 76"/>
                <a:gd name="T1" fmla="*/ 28 h 68"/>
                <a:gd name="T2" fmla="*/ 37 w 76"/>
                <a:gd name="T3" fmla="*/ 66 h 68"/>
                <a:gd name="T4" fmla="*/ 0 w 76"/>
                <a:gd name="T5" fmla="*/ 29 h 68"/>
                <a:gd name="T6" fmla="*/ 0 w 76"/>
                <a:gd name="T7" fmla="*/ 30 h 68"/>
                <a:gd name="T8" fmla="*/ 38 w 76"/>
                <a:gd name="T9" fmla="*/ 68 h 68"/>
                <a:gd name="T10" fmla="*/ 76 w 76"/>
                <a:gd name="T11" fmla="*/ 30 h 68"/>
                <a:gd name="T12" fmla="*/ 62 w 76"/>
                <a:gd name="T13" fmla="*/ 0 h 68"/>
                <a:gd name="T14" fmla="*/ 75 w 76"/>
                <a:gd name="T15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68">
                  <a:moveTo>
                    <a:pt x="75" y="28"/>
                  </a:moveTo>
                  <a:cubicBezTo>
                    <a:pt x="75" y="49"/>
                    <a:pt x="58" y="66"/>
                    <a:pt x="37" y="66"/>
                  </a:cubicBezTo>
                  <a:cubicBezTo>
                    <a:pt x="17" y="66"/>
                    <a:pt x="0" y="50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51"/>
                    <a:pt x="17" y="68"/>
                    <a:pt x="38" y="68"/>
                  </a:cubicBezTo>
                  <a:cubicBezTo>
                    <a:pt x="59" y="68"/>
                    <a:pt x="76" y="51"/>
                    <a:pt x="76" y="30"/>
                  </a:cubicBezTo>
                  <a:cubicBezTo>
                    <a:pt x="76" y="18"/>
                    <a:pt x="71" y="7"/>
                    <a:pt x="62" y="0"/>
                  </a:cubicBezTo>
                  <a:cubicBezTo>
                    <a:pt x="70" y="7"/>
                    <a:pt x="75" y="17"/>
                    <a:pt x="75" y="28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0665C39F-9BFC-4DAC-85E4-C6B14B37F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5365" y="1292424"/>
              <a:ext cx="369888" cy="365125"/>
            </a:xfrm>
            <a:prstGeom prst="ellipse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04B3003-459F-40E4-8A92-4CDBC7325C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6015" y="-6324401"/>
              <a:ext cx="117475" cy="112713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E20D0EC-D916-4C39-82B9-9687B6D8D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1415" y="-6303764"/>
              <a:ext cx="68263" cy="73025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66642F0-CFFF-412D-ABE6-901A008D3B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152" y="-5914826"/>
              <a:ext cx="5283200" cy="7067550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410762F2-33DD-4B4B-B6A2-8153B1C65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6595864"/>
              <a:ext cx="5972175" cy="3014663"/>
            </a:xfrm>
            <a:custGeom>
              <a:avLst/>
              <a:gdLst>
                <a:gd name="T0" fmla="*/ 1165 w 1228"/>
                <a:gd name="T1" fmla="*/ 0 h 620"/>
                <a:gd name="T2" fmla="*/ 63 w 1228"/>
                <a:gd name="T3" fmla="*/ 0 h 620"/>
                <a:gd name="T4" fmla="*/ 0 w 1228"/>
                <a:gd name="T5" fmla="*/ 63 h 620"/>
                <a:gd name="T6" fmla="*/ 0 w 1228"/>
                <a:gd name="T7" fmla="*/ 620 h 620"/>
                <a:gd name="T8" fmla="*/ 7 w 1228"/>
                <a:gd name="T9" fmla="*/ 63 h 620"/>
                <a:gd name="T10" fmla="*/ 63 w 1228"/>
                <a:gd name="T11" fmla="*/ 6 h 620"/>
                <a:gd name="T12" fmla="*/ 1165 w 1228"/>
                <a:gd name="T13" fmla="*/ 6 h 620"/>
                <a:gd name="T14" fmla="*/ 1221 w 1228"/>
                <a:gd name="T15" fmla="*/ 63 h 620"/>
                <a:gd name="T16" fmla="*/ 1228 w 1228"/>
                <a:gd name="T17" fmla="*/ 620 h 620"/>
                <a:gd name="T18" fmla="*/ 1228 w 1228"/>
                <a:gd name="T19" fmla="*/ 63 h 620"/>
                <a:gd name="T20" fmla="*/ 1165 w 1228"/>
                <a:gd name="T21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620"/>
                    <a:pt x="0" y="620"/>
                    <a:pt x="0" y="620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cubicBezTo>
                    <a:pt x="1228" y="620"/>
                    <a:pt x="1228" y="620"/>
                    <a:pt x="1228" y="620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AFB2F98-D4D1-4F98-87CC-B291213FA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1187251"/>
              <a:ext cx="5972175" cy="3014663"/>
            </a:xfrm>
            <a:custGeom>
              <a:avLst/>
              <a:gdLst>
                <a:gd name="T0" fmla="*/ 1221 w 1228"/>
                <a:gd name="T1" fmla="*/ 557 h 620"/>
                <a:gd name="T2" fmla="*/ 1165 w 1228"/>
                <a:gd name="T3" fmla="*/ 613 h 620"/>
                <a:gd name="T4" fmla="*/ 63 w 1228"/>
                <a:gd name="T5" fmla="*/ 613 h 620"/>
                <a:gd name="T6" fmla="*/ 7 w 1228"/>
                <a:gd name="T7" fmla="*/ 557 h 620"/>
                <a:gd name="T8" fmla="*/ 0 w 1228"/>
                <a:gd name="T9" fmla="*/ 0 h 620"/>
                <a:gd name="T10" fmla="*/ 0 w 1228"/>
                <a:gd name="T11" fmla="*/ 557 h 620"/>
                <a:gd name="T12" fmla="*/ 63 w 1228"/>
                <a:gd name="T13" fmla="*/ 620 h 620"/>
                <a:gd name="T14" fmla="*/ 1165 w 1228"/>
                <a:gd name="T15" fmla="*/ 620 h 620"/>
                <a:gd name="T16" fmla="*/ 1228 w 1228"/>
                <a:gd name="T17" fmla="*/ 557 h 620"/>
                <a:gd name="T18" fmla="*/ 1228 w 1228"/>
                <a:gd name="T19" fmla="*/ 0 h 620"/>
                <a:gd name="T20" fmla="*/ 1221 w 1228"/>
                <a:gd name="T21" fmla="*/ 55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221" y="557"/>
                  </a:moveTo>
                  <a:cubicBezTo>
                    <a:pt x="1221" y="588"/>
                    <a:pt x="1196" y="613"/>
                    <a:pt x="1165" y="613"/>
                  </a:cubicBezTo>
                  <a:cubicBezTo>
                    <a:pt x="63" y="613"/>
                    <a:pt x="63" y="613"/>
                    <a:pt x="63" y="613"/>
                  </a:cubicBezTo>
                  <a:cubicBezTo>
                    <a:pt x="32" y="613"/>
                    <a:pt x="7" y="588"/>
                    <a:pt x="7" y="55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57"/>
                    <a:pt x="0" y="557"/>
                    <a:pt x="0" y="557"/>
                  </a:cubicBezTo>
                  <a:cubicBezTo>
                    <a:pt x="0" y="591"/>
                    <a:pt x="28" y="620"/>
                    <a:pt x="63" y="620"/>
                  </a:cubicBezTo>
                  <a:cubicBezTo>
                    <a:pt x="1165" y="620"/>
                    <a:pt x="1165" y="620"/>
                    <a:pt x="1165" y="620"/>
                  </a:cubicBezTo>
                  <a:cubicBezTo>
                    <a:pt x="1200" y="620"/>
                    <a:pt x="1228" y="591"/>
                    <a:pt x="1228" y="557"/>
                  </a:cubicBezTo>
                  <a:cubicBezTo>
                    <a:pt x="1228" y="0"/>
                    <a:pt x="1228" y="0"/>
                    <a:pt x="1228" y="0"/>
                  </a:cubicBezTo>
                  <a:lnTo>
                    <a:pt x="1221" y="557"/>
                  </a:ln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46" name="Рисунок 21">
            <a:extLst>
              <a:ext uri="{FF2B5EF4-FFF2-40B4-BE49-F238E27FC236}">
                <a16:creationId xmlns:a16="http://schemas.microsoft.com/office/drawing/2014/main" id="{92638155-1F68-4422-A43E-8C234CAF062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410990" y="1210095"/>
            <a:ext cx="3082505" cy="4127005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 dirty="0"/>
            </a:lvl1pPr>
          </a:lstStyle>
          <a:p>
            <a:pPr lvl="0" algn="ctr"/>
            <a:r>
              <a:rPr lang="en-US"/>
              <a:t>Click icon to add 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61652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21">
            <a:extLst>
              <a:ext uri="{FF2B5EF4-FFF2-40B4-BE49-F238E27FC236}">
                <a16:creationId xmlns:a16="http://schemas.microsoft.com/office/drawing/2014/main" id="{B3DE99BA-2555-4ED3-A990-CFEFFA9A7B77}"/>
              </a:ext>
            </a:extLst>
          </p:cNvPr>
          <p:cNvSpPr/>
          <p:nvPr/>
        </p:nvSpPr>
        <p:spPr>
          <a:xfrm>
            <a:off x="0" y="1694063"/>
            <a:ext cx="12192000" cy="41713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20" y="511079"/>
            <a:ext cx="4833611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2047452"/>
            <a:ext cx="11137644" cy="35811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Рисунок 21">
            <a:extLst>
              <a:ext uri="{FF2B5EF4-FFF2-40B4-BE49-F238E27FC236}">
                <a16:creationId xmlns:a16="http://schemas.microsoft.com/office/drawing/2014/main" id="{8C1D2474-B9B4-40B0-8BE8-994BDBC05AD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46276" y="765012"/>
            <a:ext cx="4498624" cy="2872685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 dirty="0"/>
            </a:lvl1pPr>
          </a:lstStyle>
          <a:p>
            <a:pPr lvl="0" algn="ctr"/>
            <a:r>
              <a:rPr lang="en-US" dirty="0"/>
              <a:t>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7487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21">
            <a:extLst>
              <a:ext uri="{FF2B5EF4-FFF2-40B4-BE49-F238E27FC236}">
                <a16:creationId xmlns:a16="http://schemas.microsoft.com/office/drawing/2014/main" id="{B3DE99BA-2555-4ED3-A990-CFEFFA9A7B77}"/>
              </a:ext>
            </a:extLst>
          </p:cNvPr>
          <p:cNvSpPr/>
          <p:nvPr/>
        </p:nvSpPr>
        <p:spPr>
          <a:xfrm>
            <a:off x="0" y="1694063"/>
            <a:ext cx="12192000" cy="417130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20" y="511079"/>
            <a:ext cx="4833611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Рисунок 21">
            <a:extLst>
              <a:ext uri="{FF2B5EF4-FFF2-40B4-BE49-F238E27FC236}">
                <a16:creationId xmlns:a16="http://schemas.microsoft.com/office/drawing/2014/main" id="{8C1D2474-B9B4-40B0-8BE8-994BDBC05AD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46276" y="765012"/>
            <a:ext cx="4498624" cy="2872685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 dirty="0"/>
            </a:lvl1pPr>
          </a:lstStyle>
          <a:p>
            <a:pPr lvl="0" algn="ctr"/>
            <a:r>
              <a:rPr lang="en-US" dirty="0"/>
              <a:t>/</a:t>
            </a:r>
            <a:endParaRPr lang="ru-RU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2047452"/>
            <a:ext cx="11137644" cy="358118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364056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7581115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8" name="Группа 17">
            <a:extLst>
              <a:ext uri="{FF2B5EF4-FFF2-40B4-BE49-F238E27FC236}">
                <a16:creationId xmlns:a16="http://schemas.microsoft.com/office/drawing/2014/main" id="{C4508ACA-3F91-4949-BEDA-30D792BD23F5}"/>
              </a:ext>
            </a:extLst>
          </p:cNvPr>
          <p:cNvGrpSpPr/>
          <p:nvPr/>
        </p:nvGrpSpPr>
        <p:grpSpPr>
          <a:xfrm>
            <a:off x="8339122" y="1416223"/>
            <a:ext cx="7686057" cy="4175980"/>
            <a:chOff x="7068965" y="3978474"/>
            <a:chExt cx="13623925" cy="7402512"/>
          </a:xfrm>
          <a:effectLst>
            <a:reflection blurRad="50800" stA="50000" endPos="17000" dir="5400000" sy="-100000" algn="bl" rotWithShape="0"/>
          </a:effectLst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6B175909-2855-456C-9929-56890650B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4402" y="3978474"/>
              <a:ext cx="10433050" cy="7237413"/>
            </a:xfrm>
            <a:custGeom>
              <a:avLst/>
              <a:gdLst>
                <a:gd name="T0" fmla="*/ 2075 w 2145"/>
                <a:gd name="T1" fmla="*/ 1488 h 1488"/>
                <a:gd name="T2" fmla="*/ 70 w 2145"/>
                <a:gd name="T3" fmla="*/ 1488 h 1488"/>
                <a:gd name="T4" fmla="*/ 0 w 2145"/>
                <a:gd name="T5" fmla="*/ 1418 h 1488"/>
                <a:gd name="T6" fmla="*/ 0 w 2145"/>
                <a:gd name="T7" fmla="*/ 71 h 1488"/>
                <a:gd name="T8" fmla="*/ 70 w 2145"/>
                <a:gd name="T9" fmla="*/ 0 h 1488"/>
                <a:gd name="T10" fmla="*/ 2075 w 2145"/>
                <a:gd name="T11" fmla="*/ 0 h 1488"/>
                <a:gd name="T12" fmla="*/ 2145 w 2145"/>
                <a:gd name="T13" fmla="*/ 71 h 1488"/>
                <a:gd name="T14" fmla="*/ 2145 w 2145"/>
                <a:gd name="T15" fmla="*/ 1418 h 1488"/>
                <a:gd name="T16" fmla="*/ 2075 w 2145"/>
                <a:gd name="T17" fmla="*/ 1488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488">
                  <a:moveTo>
                    <a:pt x="2075" y="1488"/>
                  </a:moveTo>
                  <a:cubicBezTo>
                    <a:pt x="70" y="1488"/>
                    <a:pt x="70" y="1488"/>
                    <a:pt x="70" y="1488"/>
                  </a:cubicBezTo>
                  <a:cubicBezTo>
                    <a:pt x="32" y="1488"/>
                    <a:pt x="0" y="1457"/>
                    <a:pt x="0" y="1418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0" y="0"/>
                  </a:cubicBezTo>
                  <a:cubicBezTo>
                    <a:pt x="2075" y="0"/>
                    <a:pt x="2075" y="0"/>
                    <a:pt x="2075" y="0"/>
                  </a:cubicBezTo>
                  <a:cubicBezTo>
                    <a:pt x="2113" y="0"/>
                    <a:pt x="2145" y="32"/>
                    <a:pt x="2145" y="71"/>
                  </a:cubicBezTo>
                  <a:cubicBezTo>
                    <a:pt x="2145" y="1418"/>
                    <a:pt x="2145" y="1418"/>
                    <a:pt x="2145" y="1418"/>
                  </a:cubicBezTo>
                  <a:cubicBezTo>
                    <a:pt x="2145" y="1457"/>
                    <a:pt x="2113" y="1488"/>
                    <a:pt x="2075" y="148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2E0E091B-7AE1-423E-9C50-2A86F4D0C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327" y="4011811"/>
              <a:ext cx="10364788" cy="7173913"/>
            </a:xfrm>
            <a:custGeom>
              <a:avLst/>
              <a:gdLst>
                <a:gd name="T0" fmla="*/ 2068 w 2131"/>
                <a:gd name="T1" fmla="*/ 1475 h 1475"/>
                <a:gd name="T2" fmla="*/ 63 w 2131"/>
                <a:gd name="T3" fmla="*/ 1475 h 1475"/>
                <a:gd name="T4" fmla="*/ 0 w 2131"/>
                <a:gd name="T5" fmla="*/ 1411 h 1475"/>
                <a:gd name="T6" fmla="*/ 0 w 2131"/>
                <a:gd name="T7" fmla="*/ 64 h 1475"/>
                <a:gd name="T8" fmla="*/ 63 w 2131"/>
                <a:gd name="T9" fmla="*/ 0 h 1475"/>
                <a:gd name="T10" fmla="*/ 2068 w 2131"/>
                <a:gd name="T11" fmla="*/ 0 h 1475"/>
                <a:gd name="T12" fmla="*/ 2131 w 2131"/>
                <a:gd name="T13" fmla="*/ 64 h 1475"/>
                <a:gd name="T14" fmla="*/ 2131 w 2131"/>
                <a:gd name="T15" fmla="*/ 1411 h 1475"/>
                <a:gd name="T16" fmla="*/ 2068 w 2131"/>
                <a:gd name="T17" fmla="*/ 1475 h 1475"/>
                <a:gd name="T18" fmla="*/ 63 w 2131"/>
                <a:gd name="T19" fmla="*/ 3 h 1475"/>
                <a:gd name="T20" fmla="*/ 3 w 2131"/>
                <a:gd name="T21" fmla="*/ 64 h 1475"/>
                <a:gd name="T22" fmla="*/ 3 w 2131"/>
                <a:gd name="T23" fmla="*/ 1411 h 1475"/>
                <a:gd name="T24" fmla="*/ 63 w 2131"/>
                <a:gd name="T25" fmla="*/ 1472 h 1475"/>
                <a:gd name="T26" fmla="*/ 2068 w 2131"/>
                <a:gd name="T27" fmla="*/ 1472 h 1475"/>
                <a:gd name="T28" fmla="*/ 2128 w 2131"/>
                <a:gd name="T29" fmla="*/ 1411 h 1475"/>
                <a:gd name="T30" fmla="*/ 2128 w 2131"/>
                <a:gd name="T31" fmla="*/ 64 h 1475"/>
                <a:gd name="T32" fmla="*/ 2068 w 2131"/>
                <a:gd name="T33" fmla="*/ 3 h 1475"/>
                <a:gd name="T34" fmla="*/ 63 w 2131"/>
                <a:gd name="T35" fmla="*/ 3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31" h="1475">
                  <a:moveTo>
                    <a:pt x="2068" y="1475"/>
                  </a:moveTo>
                  <a:cubicBezTo>
                    <a:pt x="63" y="1475"/>
                    <a:pt x="63" y="1475"/>
                    <a:pt x="63" y="1475"/>
                  </a:cubicBezTo>
                  <a:cubicBezTo>
                    <a:pt x="28" y="1475"/>
                    <a:pt x="0" y="1446"/>
                    <a:pt x="0" y="14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2068" y="0"/>
                    <a:pt x="2068" y="0"/>
                    <a:pt x="2068" y="0"/>
                  </a:cubicBezTo>
                  <a:cubicBezTo>
                    <a:pt x="2103" y="0"/>
                    <a:pt x="2131" y="29"/>
                    <a:pt x="2131" y="64"/>
                  </a:cubicBezTo>
                  <a:cubicBezTo>
                    <a:pt x="2131" y="1411"/>
                    <a:pt x="2131" y="1411"/>
                    <a:pt x="2131" y="1411"/>
                  </a:cubicBezTo>
                  <a:cubicBezTo>
                    <a:pt x="2131" y="1446"/>
                    <a:pt x="2103" y="1475"/>
                    <a:pt x="2068" y="1475"/>
                  </a:cubicBezTo>
                  <a:close/>
                  <a:moveTo>
                    <a:pt x="63" y="3"/>
                  </a:moveTo>
                  <a:cubicBezTo>
                    <a:pt x="30" y="3"/>
                    <a:pt x="3" y="30"/>
                    <a:pt x="3" y="64"/>
                  </a:cubicBezTo>
                  <a:cubicBezTo>
                    <a:pt x="3" y="1411"/>
                    <a:pt x="3" y="1411"/>
                    <a:pt x="3" y="1411"/>
                  </a:cubicBezTo>
                  <a:cubicBezTo>
                    <a:pt x="3" y="1444"/>
                    <a:pt x="30" y="1472"/>
                    <a:pt x="63" y="1472"/>
                  </a:cubicBezTo>
                  <a:cubicBezTo>
                    <a:pt x="2068" y="1472"/>
                    <a:pt x="2068" y="1472"/>
                    <a:pt x="2068" y="1472"/>
                  </a:cubicBezTo>
                  <a:cubicBezTo>
                    <a:pt x="2101" y="1472"/>
                    <a:pt x="2128" y="1444"/>
                    <a:pt x="2128" y="1411"/>
                  </a:cubicBezTo>
                  <a:cubicBezTo>
                    <a:pt x="2128" y="64"/>
                    <a:pt x="2128" y="64"/>
                    <a:pt x="2128" y="64"/>
                  </a:cubicBezTo>
                  <a:cubicBezTo>
                    <a:pt x="2128" y="30"/>
                    <a:pt x="2101" y="3"/>
                    <a:pt x="2068" y="3"/>
                  </a:cubicBezTo>
                  <a:lnTo>
                    <a:pt x="63" y="3"/>
                  </a:lnTo>
                  <a:close/>
                </a:path>
              </a:pathLst>
            </a:custGeom>
            <a:solidFill>
              <a:srgbClr val="A8A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" name="Rectangle 62">
              <a:extLst>
                <a:ext uri="{FF2B5EF4-FFF2-40B4-BE49-F238E27FC236}">
                  <a16:creationId xmlns:a16="http://schemas.microsoft.com/office/drawing/2014/main" id="{E5F6F51B-3D00-4494-A504-8B8EF985B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66052" y="4483299"/>
              <a:ext cx="9431338" cy="6002338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" name="Freeform 63">
              <a:extLst>
                <a:ext uri="{FF2B5EF4-FFF2-40B4-BE49-F238E27FC236}">
                  <a16:creationId xmlns:a16="http://schemas.microsoft.com/office/drawing/2014/main" id="{8A602697-D215-4F1C-A242-55B6C54A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8965" y="11088886"/>
              <a:ext cx="13623925" cy="292100"/>
            </a:xfrm>
            <a:custGeom>
              <a:avLst/>
              <a:gdLst>
                <a:gd name="T0" fmla="*/ 2795 w 2801"/>
                <a:gd name="T1" fmla="*/ 0 h 60"/>
                <a:gd name="T2" fmla="*/ 2278 w 2801"/>
                <a:gd name="T3" fmla="*/ 0 h 60"/>
                <a:gd name="T4" fmla="*/ 1986 w 2801"/>
                <a:gd name="T5" fmla="*/ 0 h 60"/>
                <a:gd name="T6" fmla="*/ 815 w 2801"/>
                <a:gd name="T7" fmla="*/ 0 h 60"/>
                <a:gd name="T8" fmla="*/ 523 w 2801"/>
                <a:gd name="T9" fmla="*/ 0 h 60"/>
                <a:gd name="T10" fmla="*/ 6 w 2801"/>
                <a:gd name="T11" fmla="*/ 0 h 60"/>
                <a:gd name="T12" fmla="*/ 126 w 2801"/>
                <a:gd name="T13" fmla="*/ 38 h 60"/>
                <a:gd name="T14" fmla="*/ 484 w 2801"/>
                <a:gd name="T15" fmla="*/ 60 h 60"/>
                <a:gd name="T16" fmla="*/ 815 w 2801"/>
                <a:gd name="T17" fmla="*/ 60 h 60"/>
                <a:gd name="T18" fmla="*/ 1986 w 2801"/>
                <a:gd name="T19" fmla="*/ 60 h 60"/>
                <a:gd name="T20" fmla="*/ 2317 w 2801"/>
                <a:gd name="T21" fmla="*/ 60 h 60"/>
                <a:gd name="T22" fmla="*/ 2675 w 2801"/>
                <a:gd name="T23" fmla="*/ 38 h 60"/>
                <a:gd name="T24" fmla="*/ 2795 w 2801"/>
                <a:gd name="T2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01" h="60">
                  <a:moveTo>
                    <a:pt x="2795" y="0"/>
                  </a:moveTo>
                  <a:cubicBezTo>
                    <a:pt x="2278" y="0"/>
                    <a:pt x="2278" y="0"/>
                    <a:pt x="2278" y="0"/>
                  </a:cubicBezTo>
                  <a:cubicBezTo>
                    <a:pt x="1986" y="0"/>
                    <a:pt x="1986" y="0"/>
                    <a:pt x="1986" y="0"/>
                  </a:cubicBezTo>
                  <a:cubicBezTo>
                    <a:pt x="815" y="0"/>
                    <a:pt x="815" y="0"/>
                    <a:pt x="815" y="0"/>
                  </a:cubicBezTo>
                  <a:cubicBezTo>
                    <a:pt x="523" y="0"/>
                    <a:pt x="523" y="0"/>
                    <a:pt x="52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21"/>
                    <a:pt x="126" y="38"/>
                  </a:cubicBezTo>
                  <a:cubicBezTo>
                    <a:pt x="252" y="55"/>
                    <a:pt x="393" y="60"/>
                    <a:pt x="484" y="60"/>
                  </a:cubicBezTo>
                  <a:cubicBezTo>
                    <a:pt x="544" y="60"/>
                    <a:pt x="708" y="60"/>
                    <a:pt x="815" y="60"/>
                  </a:cubicBezTo>
                  <a:cubicBezTo>
                    <a:pt x="872" y="60"/>
                    <a:pt x="1986" y="60"/>
                    <a:pt x="1986" y="60"/>
                  </a:cubicBezTo>
                  <a:cubicBezTo>
                    <a:pt x="2093" y="60"/>
                    <a:pt x="2257" y="60"/>
                    <a:pt x="2317" y="60"/>
                  </a:cubicBezTo>
                  <a:cubicBezTo>
                    <a:pt x="2408" y="60"/>
                    <a:pt x="2549" y="55"/>
                    <a:pt x="2675" y="38"/>
                  </a:cubicBezTo>
                  <a:cubicBezTo>
                    <a:pt x="2801" y="21"/>
                    <a:pt x="2795" y="0"/>
                    <a:pt x="279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" name="Freeform 64">
              <a:extLst>
                <a:ext uri="{FF2B5EF4-FFF2-40B4-BE49-F238E27FC236}">
                  <a16:creationId xmlns:a16="http://schemas.microsoft.com/office/drawing/2014/main" id="{AA5CBFA1-92D8-4234-852A-6B63301A6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165" y="11288911"/>
              <a:ext cx="12203113" cy="92075"/>
            </a:xfrm>
            <a:custGeom>
              <a:avLst/>
              <a:gdLst>
                <a:gd name="T0" fmla="*/ 2198 w 2509"/>
                <a:gd name="T1" fmla="*/ 11 h 19"/>
                <a:gd name="T2" fmla="*/ 1857 w 2509"/>
                <a:gd name="T3" fmla="*/ 11 h 19"/>
                <a:gd name="T4" fmla="*/ 652 w 2509"/>
                <a:gd name="T5" fmla="*/ 11 h 19"/>
                <a:gd name="T6" fmla="*/ 311 w 2509"/>
                <a:gd name="T7" fmla="*/ 11 h 19"/>
                <a:gd name="T8" fmla="*/ 0 w 2509"/>
                <a:gd name="T9" fmla="*/ 0 h 19"/>
                <a:gd name="T10" fmla="*/ 338 w 2509"/>
                <a:gd name="T11" fmla="*/ 19 h 19"/>
                <a:gd name="T12" fmla="*/ 669 w 2509"/>
                <a:gd name="T13" fmla="*/ 19 h 19"/>
                <a:gd name="T14" fmla="*/ 1840 w 2509"/>
                <a:gd name="T15" fmla="*/ 19 h 19"/>
                <a:gd name="T16" fmla="*/ 2171 w 2509"/>
                <a:gd name="T17" fmla="*/ 19 h 19"/>
                <a:gd name="T18" fmla="*/ 2509 w 2509"/>
                <a:gd name="T19" fmla="*/ 0 h 19"/>
                <a:gd name="T20" fmla="*/ 2198 w 2509"/>
                <a:gd name="T21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9" h="19">
                  <a:moveTo>
                    <a:pt x="2198" y="11"/>
                  </a:moveTo>
                  <a:cubicBezTo>
                    <a:pt x="2136" y="11"/>
                    <a:pt x="1967" y="11"/>
                    <a:pt x="1857" y="11"/>
                  </a:cubicBezTo>
                  <a:cubicBezTo>
                    <a:pt x="1857" y="11"/>
                    <a:pt x="710" y="11"/>
                    <a:pt x="652" y="11"/>
                  </a:cubicBezTo>
                  <a:cubicBezTo>
                    <a:pt x="542" y="11"/>
                    <a:pt x="373" y="11"/>
                    <a:pt x="311" y="11"/>
                  </a:cubicBezTo>
                  <a:cubicBezTo>
                    <a:pt x="230" y="11"/>
                    <a:pt x="113" y="8"/>
                    <a:pt x="0" y="0"/>
                  </a:cubicBezTo>
                  <a:cubicBezTo>
                    <a:pt x="120" y="14"/>
                    <a:pt x="251" y="19"/>
                    <a:pt x="338" y="19"/>
                  </a:cubicBezTo>
                  <a:cubicBezTo>
                    <a:pt x="398" y="19"/>
                    <a:pt x="562" y="19"/>
                    <a:pt x="669" y="19"/>
                  </a:cubicBezTo>
                  <a:cubicBezTo>
                    <a:pt x="726" y="19"/>
                    <a:pt x="1840" y="19"/>
                    <a:pt x="1840" y="19"/>
                  </a:cubicBezTo>
                  <a:cubicBezTo>
                    <a:pt x="1947" y="19"/>
                    <a:pt x="2111" y="19"/>
                    <a:pt x="2171" y="19"/>
                  </a:cubicBezTo>
                  <a:cubicBezTo>
                    <a:pt x="2258" y="19"/>
                    <a:pt x="2389" y="14"/>
                    <a:pt x="2509" y="0"/>
                  </a:cubicBezTo>
                  <a:cubicBezTo>
                    <a:pt x="2396" y="8"/>
                    <a:pt x="2279" y="11"/>
                    <a:pt x="2198" y="11"/>
                  </a:cubicBezTo>
                  <a:close/>
                </a:path>
              </a:pathLst>
            </a:cu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" name="Freeform 65">
              <a:extLst>
                <a:ext uri="{FF2B5EF4-FFF2-40B4-BE49-F238E27FC236}">
                  <a16:creationId xmlns:a16="http://schemas.microsoft.com/office/drawing/2014/main" id="{02A2C68F-17AA-4AD5-9D16-200757BD5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227" y="11138099"/>
              <a:ext cx="13487400" cy="68263"/>
            </a:xfrm>
            <a:custGeom>
              <a:avLst/>
              <a:gdLst>
                <a:gd name="T0" fmla="*/ 2773 w 2773"/>
                <a:gd name="T1" fmla="*/ 0 h 14"/>
                <a:gd name="T2" fmla="*/ 1627 w 2773"/>
                <a:gd name="T3" fmla="*/ 0 h 14"/>
                <a:gd name="T4" fmla="*/ 1618 w 2773"/>
                <a:gd name="T5" fmla="*/ 3 h 14"/>
                <a:gd name="T6" fmla="*/ 1565 w 2773"/>
                <a:gd name="T7" fmla="*/ 13 h 14"/>
                <a:gd name="T8" fmla="*/ 1208 w 2773"/>
                <a:gd name="T9" fmla="*/ 13 h 14"/>
                <a:gd name="T10" fmla="*/ 1155 w 2773"/>
                <a:gd name="T11" fmla="*/ 3 h 14"/>
                <a:gd name="T12" fmla="*/ 1146 w 2773"/>
                <a:gd name="T13" fmla="*/ 0 h 14"/>
                <a:gd name="T14" fmla="*/ 0 w 2773"/>
                <a:gd name="T15" fmla="*/ 0 h 14"/>
                <a:gd name="T16" fmla="*/ 2 w 2773"/>
                <a:gd name="T17" fmla="*/ 1 h 14"/>
                <a:gd name="T18" fmla="*/ 1146 w 2773"/>
                <a:gd name="T19" fmla="*/ 1 h 14"/>
                <a:gd name="T20" fmla="*/ 1154 w 2773"/>
                <a:gd name="T21" fmla="*/ 4 h 14"/>
                <a:gd name="T22" fmla="*/ 1208 w 2773"/>
                <a:gd name="T23" fmla="*/ 14 h 14"/>
                <a:gd name="T24" fmla="*/ 1565 w 2773"/>
                <a:gd name="T25" fmla="*/ 14 h 14"/>
                <a:gd name="T26" fmla="*/ 1619 w 2773"/>
                <a:gd name="T27" fmla="*/ 4 h 14"/>
                <a:gd name="T28" fmla="*/ 1627 w 2773"/>
                <a:gd name="T29" fmla="*/ 1 h 14"/>
                <a:gd name="T30" fmla="*/ 2771 w 2773"/>
                <a:gd name="T31" fmla="*/ 1 h 14"/>
                <a:gd name="T32" fmla="*/ 2773 w 2773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3" h="14">
                  <a:moveTo>
                    <a:pt x="2773" y="0"/>
                  </a:moveTo>
                  <a:cubicBezTo>
                    <a:pt x="1627" y="0"/>
                    <a:pt x="1627" y="0"/>
                    <a:pt x="1627" y="0"/>
                  </a:cubicBezTo>
                  <a:cubicBezTo>
                    <a:pt x="1624" y="0"/>
                    <a:pt x="1621" y="1"/>
                    <a:pt x="1618" y="3"/>
                  </a:cubicBezTo>
                  <a:cubicBezTo>
                    <a:pt x="1613" y="7"/>
                    <a:pt x="1600" y="13"/>
                    <a:pt x="1565" y="13"/>
                  </a:cubicBezTo>
                  <a:cubicBezTo>
                    <a:pt x="1208" y="13"/>
                    <a:pt x="1208" y="13"/>
                    <a:pt x="1208" y="13"/>
                  </a:cubicBezTo>
                  <a:cubicBezTo>
                    <a:pt x="1173" y="13"/>
                    <a:pt x="1160" y="7"/>
                    <a:pt x="1155" y="3"/>
                  </a:cubicBezTo>
                  <a:cubicBezTo>
                    <a:pt x="1152" y="1"/>
                    <a:pt x="1149" y="0"/>
                    <a:pt x="114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1146" y="1"/>
                    <a:pt x="1146" y="1"/>
                    <a:pt x="1146" y="1"/>
                  </a:cubicBezTo>
                  <a:cubicBezTo>
                    <a:pt x="1149" y="1"/>
                    <a:pt x="1152" y="2"/>
                    <a:pt x="1154" y="4"/>
                  </a:cubicBezTo>
                  <a:cubicBezTo>
                    <a:pt x="1159" y="8"/>
                    <a:pt x="1173" y="14"/>
                    <a:pt x="1208" y="14"/>
                  </a:cubicBezTo>
                  <a:cubicBezTo>
                    <a:pt x="1565" y="14"/>
                    <a:pt x="1565" y="14"/>
                    <a:pt x="1565" y="14"/>
                  </a:cubicBezTo>
                  <a:cubicBezTo>
                    <a:pt x="1600" y="14"/>
                    <a:pt x="1614" y="8"/>
                    <a:pt x="1619" y="4"/>
                  </a:cubicBezTo>
                  <a:cubicBezTo>
                    <a:pt x="1621" y="2"/>
                    <a:pt x="1624" y="1"/>
                    <a:pt x="1627" y="1"/>
                  </a:cubicBezTo>
                  <a:cubicBezTo>
                    <a:pt x="2771" y="1"/>
                    <a:pt x="2771" y="1"/>
                    <a:pt x="2771" y="1"/>
                  </a:cubicBezTo>
                  <a:cubicBezTo>
                    <a:pt x="2772" y="1"/>
                    <a:pt x="2773" y="1"/>
                    <a:pt x="2773" y="0"/>
                  </a:cubicBezTo>
                  <a:close/>
                </a:path>
              </a:pathLst>
            </a:custGeom>
            <a:solidFill>
              <a:srgbClr val="E4E4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" name="Freeform 66">
              <a:extLst>
                <a:ext uri="{FF2B5EF4-FFF2-40B4-BE49-F238E27FC236}">
                  <a16:creationId xmlns:a16="http://schemas.microsoft.com/office/drawing/2014/main" id="{A9029FC5-55E7-4E48-B3E9-573895393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4365" y="11088886"/>
              <a:ext cx="13574713" cy="19050"/>
            </a:xfrm>
            <a:custGeom>
              <a:avLst/>
              <a:gdLst>
                <a:gd name="T0" fmla="*/ 2273 w 2791"/>
                <a:gd name="T1" fmla="*/ 0 h 4"/>
                <a:gd name="T2" fmla="*/ 1981 w 2791"/>
                <a:gd name="T3" fmla="*/ 0 h 4"/>
                <a:gd name="T4" fmla="*/ 810 w 2791"/>
                <a:gd name="T5" fmla="*/ 0 h 4"/>
                <a:gd name="T6" fmla="*/ 518 w 2791"/>
                <a:gd name="T7" fmla="*/ 0 h 4"/>
                <a:gd name="T8" fmla="*/ 1 w 2791"/>
                <a:gd name="T9" fmla="*/ 0 h 4"/>
                <a:gd name="T10" fmla="*/ 2 w 2791"/>
                <a:gd name="T11" fmla="*/ 4 h 4"/>
                <a:gd name="T12" fmla="*/ 2789 w 2791"/>
                <a:gd name="T13" fmla="*/ 4 h 4"/>
                <a:gd name="T14" fmla="*/ 2790 w 2791"/>
                <a:gd name="T15" fmla="*/ 0 h 4"/>
                <a:gd name="T16" fmla="*/ 2273 w 27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91" h="4">
                  <a:moveTo>
                    <a:pt x="2273" y="0"/>
                  </a:moveTo>
                  <a:cubicBezTo>
                    <a:pt x="1981" y="0"/>
                    <a:pt x="1981" y="0"/>
                    <a:pt x="1981" y="0"/>
                  </a:cubicBezTo>
                  <a:cubicBezTo>
                    <a:pt x="810" y="0"/>
                    <a:pt x="810" y="0"/>
                    <a:pt x="810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2"/>
                    <a:pt x="2" y="4"/>
                  </a:cubicBezTo>
                  <a:cubicBezTo>
                    <a:pt x="2789" y="4"/>
                    <a:pt x="2789" y="4"/>
                    <a:pt x="2789" y="4"/>
                  </a:cubicBezTo>
                  <a:cubicBezTo>
                    <a:pt x="2791" y="2"/>
                    <a:pt x="2790" y="0"/>
                    <a:pt x="2790" y="0"/>
                  </a:cubicBezTo>
                  <a:lnTo>
                    <a:pt x="2273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" name="Freeform 67">
              <a:extLst>
                <a:ext uri="{FF2B5EF4-FFF2-40B4-BE49-F238E27FC236}">
                  <a16:creationId xmlns:a16="http://schemas.microsoft.com/office/drawing/2014/main" id="{7FCC7714-9F65-4D6C-B1F4-474795724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2F3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" name="Freeform 68">
              <a:extLst>
                <a:ext uri="{FF2B5EF4-FFF2-40B4-BE49-F238E27FC236}">
                  <a16:creationId xmlns:a16="http://schemas.microsoft.com/office/drawing/2014/main" id="{C427DA3E-A90D-4F99-B44B-CA66365B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8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" name="Freeform 69">
              <a:extLst>
                <a:ext uri="{FF2B5EF4-FFF2-40B4-BE49-F238E27FC236}">
                  <a16:creationId xmlns:a16="http://schemas.microsoft.com/office/drawing/2014/main" id="{3835ABEB-1A92-423D-8AD5-F5C246D23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417 w 465"/>
                <a:gd name="T1" fmla="*/ 14 h 17"/>
                <a:gd name="T2" fmla="*/ 264 w 465"/>
                <a:gd name="T3" fmla="*/ 14 h 17"/>
                <a:gd name="T4" fmla="*/ 201 w 465"/>
                <a:gd name="T5" fmla="*/ 14 h 17"/>
                <a:gd name="T6" fmla="*/ 48 w 465"/>
                <a:gd name="T7" fmla="*/ 14 h 17"/>
                <a:gd name="T8" fmla="*/ 0 w 465"/>
                <a:gd name="T9" fmla="*/ 0 h 17"/>
                <a:gd name="T10" fmla="*/ 0 w 465"/>
                <a:gd name="T11" fmla="*/ 0 h 17"/>
                <a:gd name="T12" fmla="*/ 0 w 465"/>
                <a:gd name="T13" fmla="*/ 6 h 17"/>
                <a:gd name="T14" fmla="*/ 48 w 465"/>
                <a:gd name="T15" fmla="*/ 17 h 17"/>
                <a:gd name="T16" fmla="*/ 201 w 465"/>
                <a:gd name="T17" fmla="*/ 17 h 17"/>
                <a:gd name="T18" fmla="*/ 264 w 465"/>
                <a:gd name="T19" fmla="*/ 17 h 17"/>
                <a:gd name="T20" fmla="*/ 417 w 465"/>
                <a:gd name="T21" fmla="*/ 17 h 17"/>
                <a:gd name="T22" fmla="*/ 465 w 465"/>
                <a:gd name="T23" fmla="*/ 6 h 17"/>
                <a:gd name="T24" fmla="*/ 465 w 465"/>
                <a:gd name="T25" fmla="*/ 0 h 17"/>
                <a:gd name="T26" fmla="*/ 465 w 465"/>
                <a:gd name="T27" fmla="*/ 0 h 17"/>
                <a:gd name="T28" fmla="*/ 417 w 465"/>
                <a:gd name="T2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5" h="17">
                  <a:moveTo>
                    <a:pt x="417" y="14"/>
                  </a:moveTo>
                  <a:cubicBezTo>
                    <a:pt x="393" y="14"/>
                    <a:pt x="319" y="14"/>
                    <a:pt x="264" y="14"/>
                  </a:cubicBezTo>
                  <a:cubicBezTo>
                    <a:pt x="264" y="14"/>
                    <a:pt x="237" y="14"/>
                    <a:pt x="201" y="14"/>
                  </a:cubicBezTo>
                  <a:cubicBezTo>
                    <a:pt x="146" y="14"/>
                    <a:pt x="72" y="14"/>
                    <a:pt x="48" y="14"/>
                  </a:cubicBezTo>
                  <a:cubicBezTo>
                    <a:pt x="22" y="14"/>
                    <a:pt x="6" y="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59" y="6"/>
                    <a:pt x="443" y="14"/>
                    <a:pt x="417" y="14"/>
                  </a:cubicBezTo>
                  <a:close/>
                </a:path>
              </a:pathLst>
            </a:custGeom>
            <a:solidFill>
              <a:srgbClr val="C1C1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9" name="Oval 70">
              <a:extLst>
                <a:ext uri="{FF2B5EF4-FFF2-40B4-BE49-F238E27FC236}">
                  <a16:creationId xmlns:a16="http://schemas.microsoft.com/office/drawing/2014/main" id="{68D9BAEC-BE7C-4FCE-9EFB-CF53E243F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03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0" name="Oval 71">
              <a:extLst>
                <a:ext uri="{FF2B5EF4-FFF2-40B4-BE49-F238E27FC236}">
                  <a16:creationId xmlns:a16="http://schemas.microsoft.com/office/drawing/2014/main" id="{45CC1B32-138F-4D16-9162-6362C86923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288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5" y="1833033"/>
            <a:ext cx="7573919" cy="4069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Рисунок 21">
            <a:extLst>
              <a:ext uri="{FF2B5EF4-FFF2-40B4-BE49-F238E27FC236}">
                <a16:creationId xmlns:a16="http://schemas.microsoft.com/office/drawing/2014/main" id="{FABDB891-54AE-4F1A-A4F4-03820BAAFD4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22211" y="1701010"/>
            <a:ext cx="5339580" cy="3392369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 dirty="0"/>
            </a:lvl1pPr>
          </a:lstStyle>
          <a:p>
            <a:pPr lvl="0" algn="ctr"/>
            <a:r>
              <a:rPr lang="en-US"/>
              <a:t>Click icon to add 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19623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with subtitle and content Layout">
    <p:bg>
      <p:bgPr>
        <a:solidFill>
          <a:srgbClr val="F9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" name="Группа 17">
            <a:extLst>
              <a:ext uri="{FF2B5EF4-FFF2-40B4-BE49-F238E27FC236}">
                <a16:creationId xmlns:a16="http://schemas.microsoft.com/office/drawing/2014/main" id="{65E9E904-5065-47EE-88A6-251FF2AE0E55}"/>
              </a:ext>
            </a:extLst>
          </p:cNvPr>
          <p:cNvGrpSpPr/>
          <p:nvPr/>
        </p:nvGrpSpPr>
        <p:grpSpPr>
          <a:xfrm>
            <a:off x="-3829825" y="1416223"/>
            <a:ext cx="7686057" cy="4175980"/>
            <a:chOff x="7068965" y="3978474"/>
            <a:chExt cx="13623925" cy="7402512"/>
          </a:xfrm>
          <a:effectLst>
            <a:reflection blurRad="50800" stA="36000" endPos="15000" dir="5400000" sy="-100000" algn="bl" rotWithShape="0"/>
          </a:effectLst>
        </p:grpSpPr>
        <p:sp>
          <p:nvSpPr>
            <p:cNvPr id="10" name="Freeform 60">
              <a:extLst>
                <a:ext uri="{FF2B5EF4-FFF2-40B4-BE49-F238E27FC236}">
                  <a16:creationId xmlns:a16="http://schemas.microsoft.com/office/drawing/2014/main" id="{896DFEFE-6741-42DC-94E2-521D328EA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4402" y="3978474"/>
              <a:ext cx="10433050" cy="7237413"/>
            </a:xfrm>
            <a:custGeom>
              <a:avLst/>
              <a:gdLst>
                <a:gd name="T0" fmla="*/ 2075 w 2145"/>
                <a:gd name="T1" fmla="*/ 1488 h 1488"/>
                <a:gd name="T2" fmla="*/ 70 w 2145"/>
                <a:gd name="T3" fmla="*/ 1488 h 1488"/>
                <a:gd name="T4" fmla="*/ 0 w 2145"/>
                <a:gd name="T5" fmla="*/ 1418 h 1488"/>
                <a:gd name="T6" fmla="*/ 0 w 2145"/>
                <a:gd name="T7" fmla="*/ 71 h 1488"/>
                <a:gd name="T8" fmla="*/ 70 w 2145"/>
                <a:gd name="T9" fmla="*/ 0 h 1488"/>
                <a:gd name="T10" fmla="*/ 2075 w 2145"/>
                <a:gd name="T11" fmla="*/ 0 h 1488"/>
                <a:gd name="T12" fmla="*/ 2145 w 2145"/>
                <a:gd name="T13" fmla="*/ 71 h 1488"/>
                <a:gd name="T14" fmla="*/ 2145 w 2145"/>
                <a:gd name="T15" fmla="*/ 1418 h 1488"/>
                <a:gd name="T16" fmla="*/ 2075 w 2145"/>
                <a:gd name="T17" fmla="*/ 1488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488">
                  <a:moveTo>
                    <a:pt x="2075" y="1488"/>
                  </a:moveTo>
                  <a:cubicBezTo>
                    <a:pt x="70" y="1488"/>
                    <a:pt x="70" y="1488"/>
                    <a:pt x="70" y="1488"/>
                  </a:cubicBezTo>
                  <a:cubicBezTo>
                    <a:pt x="32" y="1488"/>
                    <a:pt x="0" y="1457"/>
                    <a:pt x="0" y="1418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0" y="0"/>
                  </a:cubicBezTo>
                  <a:cubicBezTo>
                    <a:pt x="2075" y="0"/>
                    <a:pt x="2075" y="0"/>
                    <a:pt x="2075" y="0"/>
                  </a:cubicBezTo>
                  <a:cubicBezTo>
                    <a:pt x="2113" y="0"/>
                    <a:pt x="2145" y="32"/>
                    <a:pt x="2145" y="71"/>
                  </a:cubicBezTo>
                  <a:cubicBezTo>
                    <a:pt x="2145" y="1418"/>
                    <a:pt x="2145" y="1418"/>
                    <a:pt x="2145" y="1418"/>
                  </a:cubicBezTo>
                  <a:cubicBezTo>
                    <a:pt x="2145" y="1457"/>
                    <a:pt x="2113" y="1488"/>
                    <a:pt x="2075" y="148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" name="Freeform 61">
              <a:extLst>
                <a:ext uri="{FF2B5EF4-FFF2-40B4-BE49-F238E27FC236}">
                  <a16:creationId xmlns:a16="http://schemas.microsoft.com/office/drawing/2014/main" id="{66DDB4CF-0AB5-4D14-83ED-F509DE1C3D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327" y="4011811"/>
              <a:ext cx="10364788" cy="7173913"/>
            </a:xfrm>
            <a:custGeom>
              <a:avLst/>
              <a:gdLst>
                <a:gd name="T0" fmla="*/ 2068 w 2131"/>
                <a:gd name="T1" fmla="*/ 1475 h 1475"/>
                <a:gd name="T2" fmla="*/ 63 w 2131"/>
                <a:gd name="T3" fmla="*/ 1475 h 1475"/>
                <a:gd name="T4" fmla="*/ 0 w 2131"/>
                <a:gd name="T5" fmla="*/ 1411 h 1475"/>
                <a:gd name="T6" fmla="*/ 0 w 2131"/>
                <a:gd name="T7" fmla="*/ 64 h 1475"/>
                <a:gd name="T8" fmla="*/ 63 w 2131"/>
                <a:gd name="T9" fmla="*/ 0 h 1475"/>
                <a:gd name="T10" fmla="*/ 2068 w 2131"/>
                <a:gd name="T11" fmla="*/ 0 h 1475"/>
                <a:gd name="T12" fmla="*/ 2131 w 2131"/>
                <a:gd name="T13" fmla="*/ 64 h 1475"/>
                <a:gd name="T14" fmla="*/ 2131 w 2131"/>
                <a:gd name="T15" fmla="*/ 1411 h 1475"/>
                <a:gd name="T16" fmla="*/ 2068 w 2131"/>
                <a:gd name="T17" fmla="*/ 1475 h 1475"/>
                <a:gd name="T18" fmla="*/ 63 w 2131"/>
                <a:gd name="T19" fmla="*/ 3 h 1475"/>
                <a:gd name="T20" fmla="*/ 3 w 2131"/>
                <a:gd name="T21" fmla="*/ 64 h 1475"/>
                <a:gd name="T22" fmla="*/ 3 w 2131"/>
                <a:gd name="T23" fmla="*/ 1411 h 1475"/>
                <a:gd name="T24" fmla="*/ 63 w 2131"/>
                <a:gd name="T25" fmla="*/ 1472 h 1475"/>
                <a:gd name="T26" fmla="*/ 2068 w 2131"/>
                <a:gd name="T27" fmla="*/ 1472 h 1475"/>
                <a:gd name="T28" fmla="*/ 2128 w 2131"/>
                <a:gd name="T29" fmla="*/ 1411 h 1475"/>
                <a:gd name="T30" fmla="*/ 2128 w 2131"/>
                <a:gd name="T31" fmla="*/ 64 h 1475"/>
                <a:gd name="T32" fmla="*/ 2068 w 2131"/>
                <a:gd name="T33" fmla="*/ 3 h 1475"/>
                <a:gd name="T34" fmla="*/ 63 w 2131"/>
                <a:gd name="T35" fmla="*/ 3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31" h="1475">
                  <a:moveTo>
                    <a:pt x="2068" y="1475"/>
                  </a:moveTo>
                  <a:cubicBezTo>
                    <a:pt x="63" y="1475"/>
                    <a:pt x="63" y="1475"/>
                    <a:pt x="63" y="1475"/>
                  </a:cubicBezTo>
                  <a:cubicBezTo>
                    <a:pt x="28" y="1475"/>
                    <a:pt x="0" y="1446"/>
                    <a:pt x="0" y="14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2068" y="0"/>
                    <a:pt x="2068" y="0"/>
                    <a:pt x="2068" y="0"/>
                  </a:cubicBezTo>
                  <a:cubicBezTo>
                    <a:pt x="2103" y="0"/>
                    <a:pt x="2131" y="29"/>
                    <a:pt x="2131" y="64"/>
                  </a:cubicBezTo>
                  <a:cubicBezTo>
                    <a:pt x="2131" y="1411"/>
                    <a:pt x="2131" y="1411"/>
                    <a:pt x="2131" y="1411"/>
                  </a:cubicBezTo>
                  <a:cubicBezTo>
                    <a:pt x="2131" y="1446"/>
                    <a:pt x="2103" y="1475"/>
                    <a:pt x="2068" y="1475"/>
                  </a:cubicBezTo>
                  <a:close/>
                  <a:moveTo>
                    <a:pt x="63" y="3"/>
                  </a:moveTo>
                  <a:cubicBezTo>
                    <a:pt x="30" y="3"/>
                    <a:pt x="3" y="30"/>
                    <a:pt x="3" y="64"/>
                  </a:cubicBezTo>
                  <a:cubicBezTo>
                    <a:pt x="3" y="1411"/>
                    <a:pt x="3" y="1411"/>
                    <a:pt x="3" y="1411"/>
                  </a:cubicBezTo>
                  <a:cubicBezTo>
                    <a:pt x="3" y="1444"/>
                    <a:pt x="30" y="1472"/>
                    <a:pt x="63" y="1472"/>
                  </a:cubicBezTo>
                  <a:cubicBezTo>
                    <a:pt x="2068" y="1472"/>
                    <a:pt x="2068" y="1472"/>
                    <a:pt x="2068" y="1472"/>
                  </a:cubicBezTo>
                  <a:cubicBezTo>
                    <a:pt x="2101" y="1472"/>
                    <a:pt x="2128" y="1444"/>
                    <a:pt x="2128" y="1411"/>
                  </a:cubicBezTo>
                  <a:cubicBezTo>
                    <a:pt x="2128" y="64"/>
                    <a:pt x="2128" y="64"/>
                    <a:pt x="2128" y="64"/>
                  </a:cubicBezTo>
                  <a:cubicBezTo>
                    <a:pt x="2128" y="30"/>
                    <a:pt x="2101" y="3"/>
                    <a:pt x="2068" y="3"/>
                  </a:cubicBezTo>
                  <a:lnTo>
                    <a:pt x="63" y="3"/>
                  </a:lnTo>
                  <a:close/>
                </a:path>
              </a:pathLst>
            </a:custGeom>
            <a:solidFill>
              <a:srgbClr val="A8A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" name="Rectangle 62">
              <a:extLst>
                <a:ext uri="{FF2B5EF4-FFF2-40B4-BE49-F238E27FC236}">
                  <a16:creationId xmlns:a16="http://schemas.microsoft.com/office/drawing/2014/main" id="{96EFBBCE-35F4-46B1-823E-1E5E83608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66052" y="4483299"/>
              <a:ext cx="9431338" cy="6002338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" name="Freeform 63">
              <a:extLst>
                <a:ext uri="{FF2B5EF4-FFF2-40B4-BE49-F238E27FC236}">
                  <a16:creationId xmlns:a16="http://schemas.microsoft.com/office/drawing/2014/main" id="{557D1A31-7AF4-43B1-A447-1DA8491DA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8965" y="11088886"/>
              <a:ext cx="13623925" cy="292100"/>
            </a:xfrm>
            <a:custGeom>
              <a:avLst/>
              <a:gdLst>
                <a:gd name="T0" fmla="*/ 2795 w 2801"/>
                <a:gd name="T1" fmla="*/ 0 h 60"/>
                <a:gd name="T2" fmla="*/ 2278 w 2801"/>
                <a:gd name="T3" fmla="*/ 0 h 60"/>
                <a:gd name="T4" fmla="*/ 1986 w 2801"/>
                <a:gd name="T5" fmla="*/ 0 h 60"/>
                <a:gd name="T6" fmla="*/ 815 w 2801"/>
                <a:gd name="T7" fmla="*/ 0 h 60"/>
                <a:gd name="T8" fmla="*/ 523 w 2801"/>
                <a:gd name="T9" fmla="*/ 0 h 60"/>
                <a:gd name="T10" fmla="*/ 6 w 2801"/>
                <a:gd name="T11" fmla="*/ 0 h 60"/>
                <a:gd name="T12" fmla="*/ 126 w 2801"/>
                <a:gd name="T13" fmla="*/ 38 h 60"/>
                <a:gd name="T14" fmla="*/ 484 w 2801"/>
                <a:gd name="T15" fmla="*/ 60 h 60"/>
                <a:gd name="T16" fmla="*/ 815 w 2801"/>
                <a:gd name="T17" fmla="*/ 60 h 60"/>
                <a:gd name="T18" fmla="*/ 1986 w 2801"/>
                <a:gd name="T19" fmla="*/ 60 h 60"/>
                <a:gd name="T20" fmla="*/ 2317 w 2801"/>
                <a:gd name="T21" fmla="*/ 60 h 60"/>
                <a:gd name="T22" fmla="*/ 2675 w 2801"/>
                <a:gd name="T23" fmla="*/ 38 h 60"/>
                <a:gd name="T24" fmla="*/ 2795 w 2801"/>
                <a:gd name="T2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01" h="60">
                  <a:moveTo>
                    <a:pt x="2795" y="0"/>
                  </a:moveTo>
                  <a:cubicBezTo>
                    <a:pt x="2278" y="0"/>
                    <a:pt x="2278" y="0"/>
                    <a:pt x="2278" y="0"/>
                  </a:cubicBezTo>
                  <a:cubicBezTo>
                    <a:pt x="1986" y="0"/>
                    <a:pt x="1986" y="0"/>
                    <a:pt x="1986" y="0"/>
                  </a:cubicBezTo>
                  <a:cubicBezTo>
                    <a:pt x="815" y="0"/>
                    <a:pt x="815" y="0"/>
                    <a:pt x="815" y="0"/>
                  </a:cubicBezTo>
                  <a:cubicBezTo>
                    <a:pt x="523" y="0"/>
                    <a:pt x="523" y="0"/>
                    <a:pt x="52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21"/>
                    <a:pt x="126" y="38"/>
                  </a:cubicBezTo>
                  <a:cubicBezTo>
                    <a:pt x="252" y="55"/>
                    <a:pt x="393" y="60"/>
                    <a:pt x="484" y="60"/>
                  </a:cubicBezTo>
                  <a:cubicBezTo>
                    <a:pt x="544" y="60"/>
                    <a:pt x="708" y="60"/>
                    <a:pt x="815" y="60"/>
                  </a:cubicBezTo>
                  <a:cubicBezTo>
                    <a:pt x="872" y="60"/>
                    <a:pt x="1986" y="60"/>
                    <a:pt x="1986" y="60"/>
                  </a:cubicBezTo>
                  <a:cubicBezTo>
                    <a:pt x="2093" y="60"/>
                    <a:pt x="2257" y="60"/>
                    <a:pt x="2317" y="60"/>
                  </a:cubicBezTo>
                  <a:cubicBezTo>
                    <a:pt x="2408" y="60"/>
                    <a:pt x="2549" y="55"/>
                    <a:pt x="2675" y="38"/>
                  </a:cubicBezTo>
                  <a:cubicBezTo>
                    <a:pt x="2801" y="21"/>
                    <a:pt x="2795" y="0"/>
                    <a:pt x="279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" name="Freeform 64">
              <a:extLst>
                <a:ext uri="{FF2B5EF4-FFF2-40B4-BE49-F238E27FC236}">
                  <a16:creationId xmlns:a16="http://schemas.microsoft.com/office/drawing/2014/main" id="{C5142F47-2E3F-4A2B-A885-CAF7ACBF5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165" y="11288911"/>
              <a:ext cx="12203113" cy="92075"/>
            </a:xfrm>
            <a:custGeom>
              <a:avLst/>
              <a:gdLst>
                <a:gd name="T0" fmla="*/ 2198 w 2509"/>
                <a:gd name="T1" fmla="*/ 11 h 19"/>
                <a:gd name="T2" fmla="*/ 1857 w 2509"/>
                <a:gd name="T3" fmla="*/ 11 h 19"/>
                <a:gd name="T4" fmla="*/ 652 w 2509"/>
                <a:gd name="T5" fmla="*/ 11 h 19"/>
                <a:gd name="T6" fmla="*/ 311 w 2509"/>
                <a:gd name="T7" fmla="*/ 11 h 19"/>
                <a:gd name="T8" fmla="*/ 0 w 2509"/>
                <a:gd name="T9" fmla="*/ 0 h 19"/>
                <a:gd name="T10" fmla="*/ 338 w 2509"/>
                <a:gd name="T11" fmla="*/ 19 h 19"/>
                <a:gd name="T12" fmla="*/ 669 w 2509"/>
                <a:gd name="T13" fmla="*/ 19 h 19"/>
                <a:gd name="T14" fmla="*/ 1840 w 2509"/>
                <a:gd name="T15" fmla="*/ 19 h 19"/>
                <a:gd name="T16" fmla="*/ 2171 w 2509"/>
                <a:gd name="T17" fmla="*/ 19 h 19"/>
                <a:gd name="T18" fmla="*/ 2509 w 2509"/>
                <a:gd name="T19" fmla="*/ 0 h 19"/>
                <a:gd name="T20" fmla="*/ 2198 w 2509"/>
                <a:gd name="T21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9" h="19">
                  <a:moveTo>
                    <a:pt x="2198" y="11"/>
                  </a:moveTo>
                  <a:cubicBezTo>
                    <a:pt x="2136" y="11"/>
                    <a:pt x="1967" y="11"/>
                    <a:pt x="1857" y="11"/>
                  </a:cubicBezTo>
                  <a:cubicBezTo>
                    <a:pt x="1857" y="11"/>
                    <a:pt x="710" y="11"/>
                    <a:pt x="652" y="11"/>
                  </a:cubicBezTo>
                  <a:cubicBezTo>
                    <a:pt x="542" y="11"/>
                    <a:pt x="373" y="11"/>
                    <a:pt x="311" y="11"/>
                  </a:cubicBezTo>
                  <a:cubicBezTo>
                    <a:pt x="230" y="11"/>
                    <a:pt x="113" y="8"/>
                    <a:pt x="0" y="0"/>
                  </a:cubicBezTo>
                  <a:cubicBezTo>
                    <a:pt x="120" y="14"/>
                    <a:pt x="251" y="19"/>
                    <a:pt x="338" y="19"/>
                  </a:cubicBezTo>
                  <a:cubicBezTo>
                    <a:pt x="398" y="19"/>
                    <a:pt x="562" y="19"/>
                    <a:pt x="669" y="19"/>
                  </a:cubicBezTo>
                  <a:cubicBezTo>
                    <a:pt x="726" y="19"/>
                    <a:pt x="1840" y="19"/>
                    <a:pt x="1840" y="19"/>
                  </a:cubicBezTo>
                  <a:cubicBezTo>
                    <a:pt x="1947" y="19"/>
                    <a:pt x="2111" y="19"/>
                    <a:pt x="2171" y="19"/>
                  </a:cubicBezTo>
                  <a:cubicBezTo>
                    <a:pt x="2258" y="19"/>
                    <a:pt x="2389" y="14"/>
                    <a:pt x="2509" y="0"/>
                  </a:cubicBezTo>
                  <a:cubicBezTo>
                    <a:pt x="2396" y="8"/>
                    <a:pt x="2279" y="11"/>
                    <a:pt x="2198" y="11"/>
                  </a:cubicBezTo>
                  <a:close/>
                </a:path>
              </a:pathLst>
            </a:cu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" name="Freeform 65">
              <a:extLst>
                <a:ext uri="{FF2B5EF4-FFF2-40B4-BE49-F238E27FC236}">
                  <a16:creationId xmlns:a16="http://schemas.microsoft.com/office/drawing/2014/main" id="{6A6FC6C8-A849-42B1-B461-6BDC40A20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227" y="11138099"/>
              <a:ext cx="13487400" cy="68263"/>
            </a:xfrm>
            <a:custGeom>
              <a:avLst/>
              <a:gdLst>
                <a:gd name="T0" fmla="*/ 2773 w 2773"/>
                <a:gd name="T1" fmla="*/ 0 h 14"/>
                <a:gd name="T2" fmla="*/ 1627 w 2773"/>
                <a:gd name="T3" fmla="*/ 0 h 14"/>
                <a:gd name="T4" fmla="*/ 1618 w 2773"/>
                <a:gd name="T5" fmla="*/ 3 h 14"/>
                <a:gd name="T6" fmla="*/ 1565 w 2773"/>
                <a:gd name="T7" fmla="*/ 13 h 14"/>
                <a:gd name="T8" fmla="*/ 1208 w 2773"/>
                <a:gd name="T9" fmla="*/ 13 h 14"/>
                <a:gd name="T10" fmla="*/ 1155 w 2773"/>
                <a:gd name="T11" fmla="*/ 3 h 14"/>
                <a:gd name="T12" fmla="*/ 1146 w 2773"/>
                <a:gd name="T13" fmla="*/ 0 h 14"/>
                <a:gd name="T14" fmla="*/ 0 w 2773"/>
                <a:gd name="T15" fmla="*/ 0 h 14"/>
                <a:gd name="T16" fmla="*/ 2 w 2773"/>
                <a:gd name="T17" fmla="*/ 1 h 14"/>
                <a:gd name="T18" fmla="*/ 1146 w 2773"/>
                <a:gd name="T19" fmla="*/ 1 h 14"/>
                <a:gd name="T20" fmla="*/ 1154 w 2773"/>
                <a:gd name="T21" fmla="*/ 4 h 14"/>
                <a:gd name="T22" fmla="*/ 1208 w 2773"/>
                <a:gd name="T23" fmla="*/ 14 h 14"/>
                <a:gd name="T24" fmla="*/ 1565 w 2773"/>
                <a:gd name="T25" fmla="*/ 14 h 14"/>
                <a:gd name="T26" fmla="*/ 1619 w 2773"/>
                <a:gd name="T27" fmla="*/ 4 h 14"/>
                <a:gd name="T28" fmla="*/ 1627 w 2773"/>
                <a:gd name="T29" fmla="*/ 1 h 14"/>
                <a:gd name="T30" fmla="*/ 2771 w 2773"/>
                <a:gd name="T31" fmla="*/ 1 h 14"/>
                <a:gd name="T32" fmla="*/ 2773 w 2773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3" h="14">
                  <a:moveTo>
                    <a:pt x="2773" y="0"/>
                  </a:moveTo>
                  <a:cubicBezTo>
                    <a:pt x="1627" y="0"/>
                    <a:pt x="1627" y="0"/>
                    <a:pt x="1627" y="0"/>
                  </a:cubicBezTo>
                  <a:cubicBezTo>
                    <a:pt x="1624" y="0"/>
                    <a:pt x="1621" y="1"/>
                    <a:pt x="1618" y="3"/>
                  </a:cubicBezTo>
                  <a:cubicBezTo>
                    <a:pt x="1613" y="7"/>
                    <a:pt x="1600" y="13"/>
                    <a:pt x="1565" y="13"/>
                  </a:cubicBezTo>
                  <a:cubicBezTo>
                    <a:pt x="1208" y="13"/>
                    <a:pt x="1208" y="13"/>
                    <a:pt x="1208" y="13"/>
                  </a:cubicBezTo>
                  <a:cubicBezTo>
                    <a:pt x="1173" y="13"/>
                    <a:pt x="1160" y="7"/>
                    <a:pt x="1155" y="3"/>
                  </a:cubicBezTo>
                  <a:cubicBezTo>
                    <a:pt x="1152" y="1"/>
                    <a:pt x="1149" y="0"/>
                    <a:pt x="114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1146" y="1"/>
                    <a:pt x="1146" y="1"/>
                    <a:pt x="1146" y="1"/>
                  </a:cubicBezTo>
                  <a:cubicBezTo>
                    <a:pt x="1149" y="1"/>
                    <a:pt x="1152" y="2"/>
                    <a:pt x="1154" y="4"/>
                  </a:cubicBezTo>
                  <a:cubicBezTo>
                    <a:pt x="1159" y="8"/>
                    <a:pt x="1173" y="14"/>
                    <a:pt x="1208" y="14"/>
                  </a:cubicBezTo>
                  <a:cubicBezTo>
                    <a:pt x="1565" y="14"/>
                    <a:pt x="1565" y="14"/>
                    <a:pt x="1565" y="14"/>
                  </a:cubicBezTo>
                  <a:cubicBezTo>
                    <a:pt x="1600" y="14"/>
                    <a:pt x="1614" y="8"/>
                    <a:pt x="1619" y="4"/>
                  </a:cubicBezTo>
                  <a:cubicBezTo>
                    <a:pt x="1621" y="2"/>
                    <a:pt x="1624" y="1"/>
                    <a:pt x="1627" y="1"/>
                  </a:cubicBezTo>
                  <a:cubicBezTo>
                    <a:pt x="2771" y="1"/>
                    <a:pt x="2771" y="1"/>
                    <a:pt x="2771" y="1"/>
                  </a:cubicBezTo>
                  <a:cubicBezTo>
                    <a:pt x="2772" y="1"/>
                    <a:pt x="2773" y="1"/>
                    <a:pt x="2773" y="0"/>
                  </a:cubicBezTo>
                  <a:close/>
                </a:path>
              </a:pathLst>
            </a:custGeom>
            <a:solidFill>
              <a:srgbClr val="E4E4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" name="Freeform 66">
              <a:extLst>
                <a:ext uri="{FF2B5EF4-FFF2-40B4-BE49-F238E27FC236}">
                  <a16:creationId xmlns:a16="http://schemas.microsoft.com/office/drawing/2014/main" id="{9CB33C75-B7FE-4F03-BED7-8F012DD85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4365" y="11088886"/>
              <a:ext cx="13574713" cy="19050"/>
            </a:xfrm>
            <a:custGeom>
              <a:avLst/>
              <a:gdLst>
                <a:gd name="T0" fmla="*/ 2273 w 2791"/>
                <a:gd name="T1" fmla="*/ 0 h 4"/>
                <a:gd name="T2" fmla="*/ 1981 w 2791"/>
                <a:gd name="T3" fmla="*/ 0 h 4"/>
                <a:gd name="T4" fmla="*/ 810 w 2791"/>
                <a:gd name="T5" fmla="*/ 0 h 4"/>
                <a:gd name="T6" fmla="*/ 518 w 2791"/>
                <a:gd name="T7" fmla="*/ 0 h 4"/>
                <a:gd name="T8" fmla="*/ 1 w 2791"/>
                <a:gd name="T9" fmla="*/ 0 h 4"/>
                <a:gd name="T10" fmla="*/ 2 w 2791"/>
                <a:gd name="T11" fmla="*/ 4 h 4"/>
                <a:gd name="T12" fmla="*/ 2789 w 2791"/>
                <a:gd name="T13" fmla="*/ 4 h 4"/>
                <a:gd name="T14" fmla="*/ 2790 w 2791"/>
                <a:gd name="T15" fmla="*/ 0 h 4"/>
                <a:gd name="T16" fmla="*/ 2273 w 27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91" h="4">
                  <a:moveTo>
                    <a:pt x="2273" y="0"/>
                  </a:moveTo>
                  <a:cubicBezTo>
                    <a:pt x="1981" y="0"/>
                    <a:pt x="1981" y="0"/>
                    <a:pt x="1981" y="0"/>
                  </a:cubicBezTo>
                  <a:cubicBezTo>
                    <a:pt x="810" y="0"/>
                    <a:pt x="810" y="0"/>
                    <a:pt x="810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2"/>
                    <a:pt x="2" y="4"/>
                  </a:cubicBezTo>
                  <a:cubicBezTo>
                    <a:pt x="2789" y="4"/>
                    <a:pt x="2789" y="4"/>
                    <a:pt x="2789" y="4"/>
                  </a:cubicBezTo>
                  <a:cubicBezTo>
                    <a:pt x="2791" y="2"/>
                    <a:pt x="2790" y="0"/>
                    <a:pt x="2790" y="0"/>
                  </a:cubicBezTo>
                  <a:lnTo>
                    <a:pt x="2273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" name="Freeform 67">
              <a:extLst>
                <a:ext uri="{FF2B5EF4-FFF2-40B4-BE49-F238E27FC236}">
                  <a16:creationId xmlns:a16="http://schemas.microsoft.com/office/drawing/2014/main" id="{4B2C877F-1F8F-44BD-8B3C-F2FE47551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2F3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" name="Freeform 68">
              <a:extLst>
                <a:ext uri="{FF2B5EF4-FFF2-40B4-BE49-F238E27FC236}">
                  <a16:creationId xmlns:a16="http://schemas.microsoft.com/office/drawing/2014/main" id="{31961D4B-0342-4BF2-9DC1-536A68E8F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8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9" name="Freeform 69">
              <a:extLst>
                <a:ext uri="{FF2B5EF4-FFF2-40B4-BE49-F238E27FC236}">
                  <a16:creationId xmlns:a16="http://schemas.microsoft.com/office/drawing/2014/main" id="{96768771-852A-4D05-A3FE-5B6D54573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417 w 465"/>
                <a:gd name="T1" fmla="*/ 14 h 17"/>
                <a:gd name="T2" fmla="*/ 264 w 465"/>
                <a:gd name="T3" fmla="*/ 14 h 17"/>
                <a:gd name="T4" fmla="*/ 201 w 465"/>
                <a:gd name="T5" fmla="*/ 14 h 17"/>
                <a:gd name="T6" fmla="*/ 48 w 465"/>
                <a:gd name="T7" fmla="*/ 14 h 17"/>
                <a:gd name="T8" fmla="*/ 0 w 465"/>
                <a:gd name="T9" fmla="*/ 0 h 17"/>
                <a:gd name="T10" fmla="*/ 0 w 465"/>
                <a:gd name="T11" fmla="*/ 0 h 17"/>
                <a:gd name="T12" fmla="*/ 0 w 465"/>
                <a:gd name="T13" fmla="*/ 6 h 17"/>
                <a:gd name="T14" fmla="*/ 48 w 465"/>
                <a:gd name="T15" fmla="*/ 17 h 17"/>
                <a:gd name="T16" fmla="*/ 201 w 465"/>
                <a:gd name="T17" fmla="*/ 17 h 17"/>
                <a:gd name="T18" fmla="*/ 264 w 465"/>
                <a:gd name="T19" fmla="*/ 17 h 17"/>
                <a:gd name="T20" fmla="*/ 417 w 465"/>
                <a:gd name="T21" fmla="*/ 17 h 17"/>
                <a:gd name="T22" fmla="*/ 465 w 465"/>
                <a:gd name="T23" fmla="*/ 6 h 17"/>
                <a:gd name="T24" fmla="*/ 465 w 465"/>
                <a:gd name="T25" fmla="*/ 0 h 17"/>
                <a:gd name="T26" fmla="*/ 465 w 465"/>
                <a:gd name="T27" fmla="*/ 0 h 17"/>
                <a:gd name="T28" fmla="*/ 417 w 465"/>
                <a:gd name="T2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5" h="17">
                  <a:moveTo>
                    <a:pt x="417" y="14"/>
                  </a:moveTo>
                  <a:cubicBezTo>
                    <a:pt x="393" y="14"/>
                    <a:pt x="319" y="14"/>
                    <a:pt x="264" y="14"/>
                  </a:cubicBezTo>
                  <a:cubicBezTo>
                    <a:pt x="264" y="14"/>
                    <a:pt x="237" y="14"/>
                    <a:pt x="201" y="14"/>
                  </a:cubicBezTo>
                  <a:cubicBezTo>
                    <a:pt x="146" y="14"/>
                    <a:pt x="72" y="14"/>
                    <a:pt x="48" y="14"/>
                  </a:cubicBezTo>
                  <a:cubicBezTo>
                    <a:pt x="22" y="14"/>
                    <a:pt x="6" y="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59" y="6"/>
                    <a:pt x="443" y="14"/>
                    <a:pt x="417" y="14"/>
                  </a:cubicBezTo>
                  <a:close/>
                </a:path>
              </a:pathLst>
            </a:custGeom>
            <a:solidFill>
              <a:srgbClr val="C1C1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0" name="Oval 70">
              <a:extLst>
                <a:ext uri="{FF2B5EF4-FFF2-40B4-BE49-F238E27FC236}">
                  <a16:creationId xmlns:a16="http://schemas.microsoft.com/office/drawing/2014/main" id="{1AA8314E-5031-41BB-AA83-ACC574BDD4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03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1" name="Oval 71">
              <a:extLst>
                <a:ext uri="{FF2B5EF4-FFF2-40B4-BE49-F238E27FC236}">
                  <a16:creationId xmlns:a16="http://schemas.microsoft.com/office/drawing/2014/main" id="{0A777B7E-D42E-4463-A4E8-7236BDE9B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288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2B3A2952-7941-4925-A393-AEE7D471B24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646734" y="1701010"/>
            <a:ext cx="5339580" cy="3392369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 dirty="0"/>
            </a:lvl1pPr>
          </a:lstStyle>
          <a:p>
            <a:pPr lvl="0" algn="ctr"/>
            <a:r>
              <a:rPr lang="en-US"/>
              <a:t>Click icon to add 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61065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6206460" y="1283672"/>
            <a:ext cx="5451889" cy="44999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8" name="Группа 30">
            <a:extLst>
              <a:ext uri="{FF2B5EF4-FFF2-40B4-BE49-F238E27FC236}">
                <a16:creationId xmlns:a16="http://schemas.microsoft.com/office/drawing/2014/main" id="{7F6BAECC-1A00-4B78-B414-408462AA59AC}"/>
              </a:ext>
            </a:extLst>
          </p:cNvPr>
          <p:cNvGrpSpPr/>
          <p:nvPr/>
        </p:nvGrpSpPr>
        <p:grpSpPr>
          <a:xfrm>
            <a:off x="1057567" y="1978508"/>
            <a:ext cx="4536932" cy="3692899"/>
            <a:chOff x="8145290" y="-8926314"/>
            <a:chExt cx="13511213" cy="10998201"/>
          </a:xfrm>
          <a:effectLst>
            <a:reflection blurRad="50800" stA="50000" endPos="11000" dir="5400000" sy="-100000" algn="bl" rotWithShape="0"/>
          </a:effectLst>
        </p:grpSpPr>
        <p:sp>
          <p:nvSpPr>
            <p:cNvPr id="9" name="Freeform 45">
              <a:extLst>
                <a:ext uri="{FF2B5EF4-FFF2-40B4-BE49-F238E27FC236}">
                  <a16:creationId xmlns:a16="http://schemas.microsoft.com/office/drawing/2014/main" id="{150F289F-D787-49C1-A4ED-F7B1A4D04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290" y="-8926314"/>
              <a:ext cx="13511213" cy="9247188"/>
            </a:xfrm>
            <a:custGeom>
              <a:avLst/>
              <a:gdLst>
                <a:gd name="T0" fmla="*/ 2710 w 2778"/>
                <a:gd name="T1" fmla="*/ 1901 h 1901"/>
                <a:gd name="T2" fmla="*/ 67 w 2778"/>
                <a:gd name="T3" fmla="*/ 1901 h 1901"/>
                <a:gd name="T4" fmla="*/ 0 w 2778"/>
                <a:gd name="T5" fmla="*/ 1833 h 1901"/>
                <a:gd name="T6" fmla="*/ 0 w 2778"/>
                <a:gd name="T7" fmla="*/ 68 h 1901"/>
                <a:gd name="T8" fmla="*/ 67 w 2778"/>
                <a:gd name="T9" fmla="*/ 0 h 1901"/>
                <a:gd name="T10" fmla="*/ 2710 w 2778"/>
                <a:gd name="T11" fmla="*/ 0 h 1901"/>
                <a:gd name="T12" fmla="*/ 2778 w 2778"/>
                <a:gd name="T13" fmla="*/ 68 h 1901"/>
                <a:gd name="T14" fmla="*/ 2778 w 2778"/>
                <a:gd name="T15" fmla="*/ 1833 h 1901"/>
                <a:gd name="T16" fmla="*/ 2710 w 2778"/>
                <a:gd name="T17" fmla="*/ 1901 h 1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78" h="1901">
                  <a:moveTo>
                    <a:pt x="2710" y="1901"/>
                  </a:moveTo>
                  <a:cubicBezTo>
                    <a:pt x="67" y="1901"/>
                    <a:pt x="67" y="1901"/>
                    <a:pt x="67" y="1901"/>
                  </a:cubicBezTo>
                  <a:cubicBezTo>
                    <a:pt x="30" y="1901"/>
                    <a:pt x="0" y="1871"/>
                    <a:pt x="0" y="183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2710" y="0"/>
                    <a:pt x="2710" y="0"/>
                    <a:pt x="2710" y="0"/>
                  </a:cubicBezTo>
                  <a:cubicBezTo>
                    <a:pt x="2747" y="0"/>
                    <a:pt x="2778" y="30"/>
                    <a:pt x="2778" y="68"/>
                  </a:cubicBezTo>
                  <a:cubicBezTo>
                    <a:pt x="2778" y="1833"/>
                    <a:pt x="2778" y="1833"/>
                    <a:pt x="2778" y="1833"/>
                  </a:cubicBezTo>
                  <a:cubicBezTo>
                    <a:pt x="2778" y="1871"/>
                    <a:pt x="2747" y="1901"/>
                    <a:pt x="2710" y="1901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0" name="Freeform 46">
              <a:extLst>
                <a:ext uri="{FF2B5EF4-FFF2-40B4-BE49-F238E27FC236}">
                  <a16:creationId xmlns:a16="http://schemas.microsoft.com/office/drawing/2014/main" id="{BB23FF1A-0F2A-44FA-B4B3-A863A9AB8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577" y="-8907264"/>
              <a:ext cx="13477875" cy="8012113"/>
            </a:xfrm>
            <a:custGeom>
              <a:avLst/>
              <a:gdLst>
                <a:gd name="T0" fmla="*/ 2707 w 2771"/>
                <a:gd name="T1" fmla="*/ 0 h 1647"/>
                <a:gd name="T2" fmla="*/ 64 w 2771"/>
                <a:gd name="T3" fmla="*/ 0 h 1647"/>
                <a:gd name="T4" fmla="*/ 0 w 2771"/>
                <a:gd name="T5" fmla="*/ 64 h 1647"/>
                <a:gd name="T6" fmla="*/ 0 w 2771"/>
                <a:gd name="T7" fmla="*/ 1647 h 1647"/>
                <a:gd name="T8" fmla="*/ 2771 w 2771"/>
                <a:gd name="T9" fmla="*/ 1647 h 1647"/>
                <a:gd name="T10" fmla="*/ 2771 w 2771"/>
                <a:gd name="T11" fmla="*/ 64 h 1647"/>
                <a:gd name="T12" fmla="*/ 2707 w 2771"/>
                <a:gd name="T13" fmla="*/ 0 h 1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1" h="1647">
                  <a:moveTo>
                    <a:pt x="2707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29" y="0"/>
                    <a:pt x="0" y="28"/>
                    <a:pt x="0" y="64"/>
                  </a:cubicBezTo>
                  <a:cubicBezTo>
                    <a:pt x="0" y="1647"/>
                    <a:pt x="0" y="1647"/>
                    <a:pt x="0" y="1647"/>
                  </a:cubicBezTo>
                  <a:cubicBezTo>
                    <a:pt x="2771" y="1647"/>
                    <a:pt x="2771" y="1647"/>
                    <a:pt x="2771" y="1647"/>
                  </a:cubicBezTo>
                  <a:cubicBezTo>
                    <a:pt x="2771" y="64"/>
                    <a:pt x="2771" y="64"/>
                    <a:pt x="2771" y="64"/>
                  </a:cubicBezTo>
                  <a:cubicBezTo>
                    <a:pt x="2771" y="28"/>
                    <a:pt x="2743" y="0"/>
                    <a:pt x="2707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  <a:alpha val="14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13E8C1BB-D4DA-4DFA-9E93-E48EFB699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1502" y="-506214"/>
              <a:ext cx="457200" cy="407988"/>
            </a:xfrm>
            <a:custGeom>
              <a:avLst/>
              <a:gdLst>
                <a:gd name="T0" fmla="*/ 1 w 94"/>
                <a:gd name="T1" fmla="*/ 49 h 84"/>
                <a:gd name="T2" fmla="*/ 48 w 94"/>
                <a:gd name="T3" fmla="*/ 3 h 84"/>
                <a:gd name="T4" fmla="*/ 94 w 94"/>
                <a:gd name="T5" fmla="*/ 48 h 84"/>
                <a:gd name="T6" fmla="*/ 94 w 94"/>
                <a:gd name="T7" fmla="*/ 47 h 84"/>
                <a:gd name="T8" fmla="*/ 47 w 94"/>
                <a:gd name="T9" fmla="*/ 0 h 84"/>
                <a:gd name="T10" fmla="*/ 0 w 94"/>
                <a:gd name="T11" fmla="*/ 47 h 84"/>
                <a:gd name="T12" fmla="*/ 17 w 94"/>
                <a:gd name="T13" fmla="*/ 84 h 84"/>
                <a:gd name="T14" fmla="*/ 1 w 94"/>
                <a:gd name="T15" fmla="*/ 4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84">
                  <a:moveTo>
                    <a:pt x="1" y="49"/>
                  </a:moveTo>
                  <a:cubicBezTo>
                    <a:pt x="1" y="23"/>
                    <a:pt x="22" y="3"/>
                    <a:pt x="48" y="3"/>
                  </a:cubicBezTo>
                  <a:cubicBezTo>
                    <a:pt x="73" y="3"/>
                    <a:pt x="93" y="23"/>
                    <a:pt x="94" y="48"/>
                  </a:cubicBezTo>
                  <a:cubicBezTo>
                    <a:pt x="94" y="48"/>
                    <a:pt x="94" y="47"/>
                    <a:pt x="94" y="47"/>
                  </a:cubicBezTo>
                  <a:cubicBezTo>
                    <a:pt x="94" y="21"/>
                    <a:pt x="73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62"/>
                    <a:pt x="7" y="75"/>
                    <a:pt x="17" y="84"/>
                  </a:cubicBezTo>
                  <a:cubicBezTo>
                    <a:pt x="8" y="75"/>
                    <a:pt x="1" y="63"/>
                    <a:pt x="1" y="49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2" name="Freeform 49">
              <a:extLst>
                <a:ext uri="{FF2B5EF4-FFF2-40B4-BE49-F238E27FC236}">
                  <a16:creationId xmlns:a16="http://schemas.microsoft.com/office/drawing/2014/main" id="{7A3C503B-CE82-4276-A1AE-412DE2807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5790" y="-428426"/>
              <a:ext cx="438150" cy="384175"/>
            </a:xfrm>
            <a:custGeom>
              <a:avLst/>
              <a:gdLst>
                <a:gd name="T0" fmla="*/ 88 w 90"/>
                <a:gd name="T1" fmla="*/ 33 h 79"/>
                <a:gd name="T2" fmla="*/ 44 w 90"/>
                <a:gd name="T3" fmla="*/ 77 h 79"/>
                <a:gd name="T4" fmla="*/ 0 w 90"/>
                <a:gd name="T5" fmla="*/ 34 h 79"/>
                <a:gd name="T6" fmla="*/ 0 w 90"/>
                <a:gd name="T7" fmla="*/ 35 h 79"/>
                <a:gd name="T8" fmla="*/ 45 w 90"/>
                <a:gd name="T9" fmla="*/ 79 h 79"/>
                <a:gd name="T10" fmla="*/ 90 w 90"/>
                <a:gd name="T11" fmla="*/ 35 h 79"/>
                <a:gd name="T12" fmla="*/ 73 w 90"/>
                <a:gd name="T13" fmla="*/ 0 h 79"/>
                <a:gd name="T14" fmla="*/ 88 w 90"/>
                <a:gd name="T15" fmla="*/ 3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79">
                  <a:moveTo>
                    <a:pt x="88" y="33"/>
                  </a:moveTo>
                  <a:cubicBezTo>
                    <a:pt x="88" y="57"/>
                    <a:pt x="69" y="77"/>
                    <a:pt x="44" y="77"/>
                  </a:cubicBezTo>
                  <a:cubicBezTo>
                    <a:pt x="20" y="77"/>
                    <a:pt x="1" y="58"/>
                    <a:pt x="0" y="34"/>
                  </a:cubicBezTo>
                  <a:cubicBezTo>
                    <a:pt x="0" y="34"/>
                    <a:pt x="0" y="34"/>
                    <a:pt x="0" y="35"/>
                  </a:cubicBezTo>
                  <a:cubicBezTo>
                    <a:pt x="0" y="59"/>
                    <a:pt x="21" y="79"/>
                    <a:pt x="45" y="79"/>
                  </a:cubicBezTo>
                  <a:cubicBezTo>
                    <a:pt x="70" y="79"/>
                    <a:pt x="90" y="59"/>
                    <a:pt x="90" y="35"/>
                  </a:cubicBezTo>
                  <a:cubicBezTo>
                    <a:pt x="90" y="21"/>
                    <a:pt x="84" y="8"/>
                    <a:pt x="73" y="0"/>
                  </a:cubicBezTo>
                  <a:cubicBezTo>
                    <a:pt x="83" y="8"/>
                    <a:pt x="88" y="20"/>
                    <a:pt x="88" y="33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3" name="Oval 50">
              <a:extLst>
                <a:ext uri="{FF2B5EF4-FFF2-40B4-BE49-F238E27FC236}">
                  <a16:creationId xmlns:a16="http://schemas.microsoft.com/office/drawing/2014/main" id="{CBF74C97-4C42-4464-A7C9-41F7CFBDDD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85790" y="-491926"/>
              <a:ext cx="433388" cy="433388"/>
            </a:xfrm>
            <a:prstGeom prst="ellipse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165B6520-AC65-48E4-A429-59E5DA2CB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DD4D9254-DE7B-4598-A4EC-4B02E0F67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E510DA72-F1DB-463C-9C19-3C0CB539E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22467819-EE7C-48F9-9DC1-1D86457B3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id="{4B74A405-CE52-4216-A257-C3943FD79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19" name="Freeform 56">
              <a:extLst>
                <a:ext uri="{FF2B5EF4-FFF2-40B4-BE49-F238E27FC236}">
                  <a16:creationId xmlns:a16="http://schemas.microsoft.com/office/drawing/2014/main" id="{FC998430-47C9-4B81-AB12-88C7CE47C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id="{1C336D6E-5F75-4A87-9BB2-9FCBC7F61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1978224"/>
              <a:ext cx="4105275" cy="93663"/>
            </a:xfrm>
            <a:custGeom>
              <a:avLst/>
              <a:gdLst>
                <a:gd name="T0" fmla="*/ 816 w 844"/>
                <a:gd name="T1" fmla="*/ 7 h 19"/>
                <a:gd name="T2" fmla="*/ 605 w 844"/>
                <a:gd name="T3" fmla="*/ 7 h 19"/>
                <a:gd name="T4" fmla="*/ 359 w 844"/>
                <a:gd name="T5" fmla="*/ 7 h 19"/>
                <a:gd name="T6" fmla="*/ 340 w 844"/>
                <a:gd name="T7" fmla="*/ 7 h 19"/>
                <a:gd name="T8" fmla="*/ 238 w 844"/>
                <a:gd name="T9" fmla="*/ 7 h 19"/>
                <a:gd name="T10" fmla="*/ 28 w 844"/>
                <a:gd name="T11" fmla="*/ 7 h 19"/>
                <a:gd name="T12" fmla="*/ 0 w 844"/>
                <a:gd name="T13" fmla="*/ 0 h 19"/>
                <a:gd name="T14" fmla="*/ 0 w 844"/>
                <a:gd name="T15" fmla="*/ 1 h 19"/>
                <a:gd name="T16" fmla="*/ 0 w 844"/>
                <a:gd name="T17" fmla="*/ 12 h 19"/>
                <a:gd name="T18" fmla="*/ 28 w 844"/>
                <a:gd name="T19" fmla="*/ 19 h 19"/>
                <a:gd name="T20" fmla="*/ 238 w 844"/>
                <a:gd name="T21" fmla="*/ 19 h 19"/>
                <a:gd name="T22" fmla="*/ 340 w 844"/>
                <a:gd name="T23" fmla="*/ 19 h 19"/>
                <a:gd name="T24" fmla="*/ 359 w 844"/>
                <a:gd name="T25" fmla="*/ 19 h 19"/>
                <a:gd name="T26" fmla="*/ 605 w 844"/>
                <a:gd name="T27" fmla="*/ 19 h 19"/>
                <a:gd name="T28" fmla="*/ 816 w 844"/>
                <a:gd name="T29" fmla="*/ 19 h 19"/>
                <a:gd name="T30" fmla="*/ 844 w 844"/>
                <a:gd name="T31" fmla="*/ 12 h 19"/>
                <a:gd name="T32" fmla="*/ 844 w 844"/>
                <a:gd name="T33" fmla="*/ 1 h 19"/>
                <a:gd name="T34" fmla="*/ 844 w 844"/>
                <a:gd name="T35" fmla="*/ 0 h 19"/>
                <a:gd name="T36" fmla="*/ 816 w 844"/>
                <a:gd name="T3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4" h="19">
                  <a:moveTo>
                    <a:pt x="816" y="7"/>
                  </a:moveTo>
                  <a:cubicBezTo>
                    <a:pt x="793" y="7"/>
                    <a:pt x="605" y="7"/>
                    <a:pt x="605" y="7"/>
                  </a:cubicBezTo>
                  <a:cubicBezTo>
                    <a:pt x="359" y="7"/>
                    <a:pt x="359" y="7"/>
                    <a:pt x="359" y="7"/>
                  </a:cubicBezTo>
                  <a:cubicBezTo>
                    <a:pt x="340" y="7"/>
                    <a:pt x="340" y="7"/>
                    <a:pt x="340" y="7"/>
                  </a:cubicBezTo>
                  <a:cubicBezTo>
                    <a:pt x="238" y="7"/>
                    <a:pt x="238" y="7"/>
                    <a:pt x="238" y="7"/>
                  </a:cubicBezTo>
                  <a:cubicBezTo>
                    <a:pt x="238" y="7"/>
                    <a:pt x="51" y="7"/>
                    <a:pt x="28" y="7"/>
                  </a:cubicBezTo>
                  <a:cubicBezTo>
                    <a:pt x="6" y="7"/>
                    <a:pt x="1" y="1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9"/>
                    <a:pt x="0" y="11"/>
                    <a:pt x="0" y="12"/>
                  </a:cubicBezTo>
                  <a:cubicBezTo>
                    <a:pt x="0" y="12"/>
                    <a:pt x="4" y="19"/>
                    <a:pt x="28" y="19"/>
                  </a:cubicBezTo>
                  <a:cubicBezTo>
                    <a:pt x="51" y="19"/>
                    <a:pt x="238" y="19"/>
                    <a:pt x="238" y="19"/>
                  </a:cubicBezTo>
                  <a:cubicBezTo>
                    <a:pt x="340" y="19"/>
                    <a:pt x="340" y="19"/>
                    <a:pt x="340" y="19"/>
                  </a:cubicBezTo>
                  <a:cubicBezTo>
                    <a:pt x="359" y="19"/>
                    <a:pt x="359" y="19"/>
                    <a:pt x="359" y="19"/>
                  </a:cubicBezTo>
                  <a:cubicBezTo>
                    <a:pt x="605" y="19"/>
                    <a:pt x="605" y="19"/>
                    <a:pt x="605" y="19"/>
                  </a:cubicBezTo>
                  <a:cubicBezTo>
                    <a:pt x="605" y="19"/>
                    <a:pt x="793" y="19"/>
                    <a:pt x="816" y="19"/>
                  </a:cubicBezTo>
                  <a:cubicBezTo>
                    <a:pt x="840" y="19"/>
                    <a:pt x="844" y="12"/>
                    <a:pt x="844" y="12"/>
                  </a:cubicBezTo>
                  <a:cubicBezTo>
                    <a:pt x="844" y="11"/>
                    <a:pt x="844" y="9"/>
                    <a:pt x="844" y="1"/>
                  </a:cubicBezTo>
                  <a:cubicBezTo>
                    <a:pt x="844" y="0"/>
                    <a:pt x="844" y="0"/>
                    <a:pt x="844" y="0"/>
                  </a:cubicBezTo>
                  <a:cubicBezTo>
                    <a:pt x="843" y="1"/>
                    <a:pt x="837" y="7"/>
                    <a:pt x="816" y="7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1" name="Freeform 58">
              <a:extLst>
                <a:ext uri="{FF2B5EF4-FFF2-40B4-BE49-F238E27FC236}">
                  <a16:creationId xmlns:a16="http://schemas.microsoft.com/office/drawing/2014/main" id="{EEBB2FF9-7024-4DAF-BDBB-1C488CB49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85615" y="320874"/>
              <a:ext cx="2957513" cy="1366838"/>
            </a:xfrm>
            <a:custGeom>
              <a:avLst/>
              <a:gdLst>
                <a:gd name="T0" fmla="*/ 249 w 608"/>
                <a:gd name="T1" fmla="*/ 281 h 281"/>
                <a:gd name="T2" fmla="*/ 608 w 608"/>
                <a:gd name="T3" fmla="*/ 19 h 281"/>
                <a:gd name="T4" fmla="*/ 606 w 608"/>
                <a:gd name="T5" fmla="*/ 0 h 281"/>
                <a:gd name="T6" fmla="*/ 269 w 608"/>
                <a:gd name="T7" fmla="*/ 0 h 281"/>
                <a:gd name="T8" fmla="*/ 250 w 608"/>
                <a:gd name="T9" fmla="*/ 0 h 281"/>
                <a:gd name="T10" fmla="*/ 57 w 608"/>
                <a:gd name="T11" fmla="*/ 0 h 281"/>
                <a:gd name="T12" fmla="*/ 20 w 608"/>
                <a:gd name="T13" fmla="*/ 261 h 281"/>
                <a:gd name="T14" fmla="*/ 0 w 608"/>
                <a:gd name="T15" fmla="*/ 281 h 281"/>
                <a:gd name="T16" fmla="*/ 249 w 608"/>
                <a:gd name="T17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8" h="281">
                  <a:moveTo>
                    <a:pt x="249" y="281"/>
                  </a:moveTo>
                  <a:cubicBezTo>
                    <a:pt x="608" y="19"/>
                    <a:pt x="608" y="19"/>
                    <a:pt x="608" y="19"/>
                  </a:cubicBezTo>
                  <a:cubicBezTo>
                    <a:pt x="607" y="7"/>
                    <a:pt x="606" y="0"/>
                    <a:pt x="606" y="0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43" y="229"/>
                    <a:pt x="20" y="261"/>
                  </a:cubicBezTo>
                  <a:cubicBezTo>
                    <a:pt x="16" y="268"/>
                    <a:pt x="9" y="275"/>
                    <a:pt x="0" y="281"/>
                  </a:cubicBezTo>
                  <a:lnTo>
                    <a:pt x="249" y="281"/>
                  </a:ln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2" name="Freeform 59">
              <a:extLst>
                <a:ext uri="{FF2B5EF4-FFF2-40B4-BE49-F238E27FC236}">
                  <a16:creationId xmlns:a16="http://schemas.microsoft.com/office/drawing/2014/main" id="{7E59AF29-8362-480B-91C0-B846F2825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8665" y="320874"/>
              <a:ext cx="2679700" cy="52388"/>
            </a:xfrm>
            <a:custGeom>
              <a:avLst/>
              <a:gdLst>
                <a:gd name="T0" fmla="*/ 1 w 551"/>
                <a:gd name="T1" fmla="*/ 0 h 11"/>
                <a:gd name="T2" fmla="*/ 0 w 551"/>
                <a:gd name="T3" fmla="*/ 11 h 11"/>
                <a:gd name="T4" fmla="*/ 551 w 551"/>
                <a:gd name="T5" fmla="*/ 11 h 11"/>
                <a:gd name="T6" fmla="*/ 550 w 551"/>
                <a:gd name="T7" fmla="*/ 0 h 11"/>
                <a:gd name="T8" fmla="*/ 213 w 551"/>
                <a:gd name="T9" fmla="*/ 0 h 11"/>
                <a:gd name="T10" fmla="*/ 194 w 551"/>
                <a:gd name="T11" fmla="*/ 0 h 11"/>
                <a:gd name="T12" fmla="*/ 1 w 551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11">
                  <a:moveTo>
                    <a:pt x="1" y="0"/>
                  </a:moveTo>
                  <a:cubicBezTo>
                    <a:pt x="1" y="0"/>
                    <a:pt x="1" y="4"/>
                    <a:pt x="0" y="11"/>
                  </a:cubicBezTo>
                  <a:cubicBezTo>
                    <a:pt x="551" y="11"/>
                    <a:pt x="551" y="11"/>
                    <a:pt x="551" y="11"/>
                  </a:cubicBezTo>
                  <a:cubicBezTo>
                    <a:pt x="551" y="4"/>
                    <a:pt x="550" y="0"/>
                    <a:pt x="550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194" y="0"/>
                    <a:pt x="194" y="0"/>
                    <a:pt x="194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C1C1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23" name="Рисунок 21">
            <a:extLst>
              <a:ext uri="{FF2B5EF4-FFF2-40B4-BE49-F238E27FC236}">
                <a16:creationId xmlns:a16="http://schemas.microsoft.com/office/drawing/2014/main" id="{318F4644-EBC0-41BA-AB91-A54534EFC29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229551" y="2126558"/>
            <a:ext cx="4192960" cy="237846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400" dirty="0"/>
            </a:lvl1pPr>
          </a:lstStyle>
          <a:p>
            <a:pPr lvl="0" algn="ctr"/>
            <a:r>
              <a:rPr lang="en-US"/>
              <a:t>Click icon to add 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24672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D28637B-5A38-4501-9387-E0297FFC1CC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12410" y="3940331"/>
            <a:ext cx="2031483" cy="1149492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2133" b="1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591FD2A-EE93-4977-91DC-171EFCD1A24E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780069" y="3404427"/>
            <a:ext cx="2031483" cy="1685399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2133" b="1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A54AA7AE-E07D-4750-95BD-608129AF38E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5037409" y="2967902"/>
            <a:ext cx="2031483" cy="2121923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2133" b="1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C5EC4D0-4DBD-41EF-98DF-2E27E322263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333484" y="2409845"/>
            <a:ext cx="2031483" cy="2679983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2133" b="1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E734C43-3F36-4A32-A658-287DFE957E0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639921" y="1975531"/>
            <a:ext cx="2031483" cy="3108919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2133" b="1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4712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3"/>
            <a:ext cx="11148483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833033"/>
            <a:ext cx="11137644" cy="4130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5876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93871"/>
            <a:ext cx="11148483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85572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643C1B0F-D0C3-CE45-B2E2-A9F9E12A64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70765" y="2"/>
            <a:ext cx="5121235" cy="591897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574930" y="1778992"/>
            <a:ext cx="5314039" cy="4139981"/>
          </a:xfrm>
          <a:prstGeom prst="rect">
            <a:avLst/>
          </a:prstGeom>
        </p:spPr>
        <p:txBody>
          <a:bodyPr lIns="34274" tIns="17136" rIns="34274" bIns="17136"/>
          <a:lstStyle>
            <a:lvl1pPr>
              <a:defRPr lang="en-US" sz="1333" b="0" i="0" baseline="0" dirty="0">
                <a:solidFill>
                  <a:schemeClr val="accent3"/>
                </a:solidFill>
                <a:latin typeface="+mn-lt"/>
                <a:ea typeface="Roboto Light" charset="0"/>
                <a:cs typeface="Roboto Light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0426" y="590999"/>
            <a:ext cx="5348543" cy="636533"/>
          </a:xfrm>
          <a:prstGeom prst="rect">
            <a:avLst/>
          </a:prstGeom>
        </p:spPr>
        <p:txBody>
          <a:bodyPr lIns="34274" tIns="17136" rIns="34274" bIns="17136">
            <a:noAutofit/>
          </a:bodyPr>
          <a:lstStyle>
            <a:lvl1pPr marL="0" marR="0" indent="0" algn="l" defTabSz="12186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892" algn="l"/>
              </a:tabLst>
              <a:defRPr lang="ru-RU" sz="3333" b="1" i="0" kern="1200" baseline="0" dirty="0">
                <a:solidFill>
                  <a:schemeClr val="tx2"/>
                </a:solidFill>
                <a:latin typeface="+mj-lt"/>
                <a:ea typeface="Roboto Black" charset="0"/>
                <a:cs typeface="Roboto Black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36050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574928" y="1778992"/>
            <a:ext cx="10078248" cy="4139981"/>
          </a:xfrm>
          <a:prstGeom prst="rect">
            <a:avLst/>
          </a:prstGeom>
        </p:spPr>
        <p:txBody>
          <a:bodyPr lIns="34274" tIns="17136" rIns="34274" bIns="17136"/>
          <a:lstStyle>
            <a:lvl1pPr>
              <a:defRPr lang="en-US" sz="1333" b="0" i="0" baseline="0" dirty="0">
                <a:solidFill>
                  <a:schemeClr val="accent3"/>
                </a:solidFill>
                <a:latin typeface="+mn-lt"/>
                <a:ea typeface="Roboto Light" charset="0"/>
                <a:cs typeface="Roboto Light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0424" y="590999"/>
            <a:ext cx="10078248" cy="636533"/>
          </a:xfrm>
          <a:prstGeom prst="rect">
            <a:avLst/>
          </a:prstGeom>
        </p:spPr>
        <p:txBody>
          <a:bodyPr lIns="34274" tIns="17136" rIns="34274" bIns="17136">
            <a:noAutofit/>
          </a:bodyPr>
          <a:lstStyle>
            <a:lvl1pPr marL="0" marR="0" indent="0" algn="l" defTabSz="12186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892" algn="l"/>
              </a:tabLst>
              <a:defRPr lang="ru-RU" sz="3333" b="1" i="0" kern="1200" baseline="0" dirty="0">
                <a:solidFill>
                  <a:schemeClr val="tx2"/>
                </a:solidFill>
                <a:latin typeface="+mj-lt"/>
                <a:ea typeface="Roboto Black" charset="0"/>
                <a:cs typeface="Roboto Black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96838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p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574930" y="1571967"/>
            <a:ext cx="3726777" cy="1510540"/>
          </a:xfrm>
          <a:prstGeom prst="rect">
            <a:avLst/>
          </a:prstGeom>
        </p:spPr>
        <p:txBody>
          <a:bodyPr lIns="34274" tIns="17136" rIns="34274" bIns="17136"/>
          <a:lstStyle>
            <a:lvl1pPr>
              <a:defRPr lang="en-US" sz="1333" b="0" i="0" baseline="0" dirty="0">
                <a:solidFill>
                  <a:schemeClr val="accent3"/>
                </a:solidFill>
                <a:latin typeface="+mn-lt"/>
                <a:ea typeface="Roboto Light" charset="0"/>
                <a:cs typeface="Roboto Light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0424" y="590999"/>
            <a:ext cx="10078248" cy="636533"/>
          </a:xfrm>
          <a:prstGeom prst="rect">
            <a:avLst/>
          </a:prstGeom>
        </p:spPr>
        <p:txBody>
          <a:bodyPr lIns="34274" tIns="17136" rIns="34274" bIns="17136">
            <a:noAutofit/>
          </a:bodyPr>
          <a:lstStyle>
            <a:lvl1pPr marL="0" marR="0" indent="0" algn="l" defTabSz="12186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892" algn="l"/>
              </a:tabLst>
              <a:defRPr lang="ru-RU" sz="3333" b="1" i="0" kern="1200" baseline="0" dirty="0">
                <a:solidFill>
                  <a:schemeClr val="tx2"/>
                </a:solidFill>
                <a:latin typeface="+mj-lt"/>
                <a:ea typeface="Roboto Black" charset="0"/>
                <a:cs typeface="Roboto Black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68634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p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574928" y="1583468"/>
            <a:ext cx="4738944" cy="1019792"/>
          </a:xfrm>
          <a:prstGeom prst="rect">
            <a:avLst/>
          </a:prstGeom>
        </p:spPr>
        <p:txBody>
          <a:bodyPr lIns="34274" tIns="17136" rIns="34274" bIns="17136"/>
          <a:lstStyle>
            <a:lvl1pPr>
              <a:defRPr lang="en-US" sz="1333" b="0" i="0" baseline="0" dirty="0">
                <a:solidFill>
                  <a:schemeClr val="accent3"/>
                </a:solidFill>
                <a:latin typeface="+mn-lt"/>
                <a:ea typeface="Roboto Light" charset="0"/>
                <a:cs typeface="Roboto Light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0424" y="590999"/>
            <a:ext cx="4738944" cy="636533"/>
          </a:xfrm>
          <a:prstGeom prst="rect">
            <a:avLst/>
          </a:prstGeom>
        </p:spPr>
        <p:txBody>
          <a:bodyPr lIns="34274" tIns="17136" rIns="34274" bIns="17136">
            <a:noAutofit/>
          </a:bodyPr>
          <a:lstStyle>
            <a:lvl1pPr marL="0" marR="0" indent="0" algn="l" defTabSz="12186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892" algn="l"/>
              </a:tabLst>
              <a:defRPr lang="ru-RU" sz="3333" b="1" i="0" kern="1200" baseline="0" dirty="0">
                <a:solidFill>
                  <a:schemeClr val="tx2"/>
                </a:solidFill>
                <a:latin typeface="+mj-lt"/>
                <a:ea typeface="Roboto Black" charset="0"/>
                <a:cs typeface="Roboto Black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6540568" y="1591145"/>
            <a:ext cx="4738944" cy="1019792"/>
          </a:xfrm>
          <a:prstGeom prst="rect">
            <a:avLst/>
          </a:prstGeom>
        </p:spPr>
        <p:txBody>
          <a:bodyPr lIns="34274" tIns="17136" rIns="34274" bIns="17136"/>
          <a:lstStyle>
            <a:lvl1pPr>
              <a:defRPr lang="en-US" sz="1333" b="0" i="0" baseline="0" dirty="0">
                <a:solidFill>
                  <a:schemeClr val="accent3"/>
                </a:solidFill>
                <a:latin typeface="+mn-lt"/>
                <a:ea typeface="Roboto Light" charset="0"/>
                <a:cs typeface="Roboto Light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6521512" y="598676"/>
            <a:ext cx="4773448" cy="636533"/>
          </a:xfrm>
        </p:spPr>
        <p:txBody>
          <a:bodyPr/>
          <a:lstStyle>
            <a:lvl1pPr>
              <a:lnSpc>
                <a:spcPct val="100000"/>
              </a:lnSpc>
              <a:defRPr sz="3333" b="1">
                <a:solidFill>
                  <a:schemeClr val="tx2"/>
                </a:solidFill>
              </a:defRPr>
            </a:lvl1pPr>
            <a:lvl2pPr>
              <a:defRPr sz="3333" b="1">
                <a:solidFill>
                  <a:schemeClr val="tx2"/>
                </a:solidFill>
              </a:defRPr>
            </a:lvl2pPr>
            <a:lvl3pPr>
              <a:defRPr sz="3333" b="1">
                <a:solidFill>
                  <a:schemeClr val="tx2"/>
                </a:solidFill>
              </a:defRPr>
            </a:lvl3pPr>
            <a:lvl4pPr>
              <a:defRPr sz="3333" b="1">
                <a:solidFill>
                  <a:schemeClr val="tx2"/>
                </a:solidFill>
              </a:defRPr>
            </a:lvl4pPr>
            <a:lvl5pPr>
              <a:defRPr sz="3333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Name of your top slide</a:t>
            </a:r>
          </a:p>
        </p:txBody>
      </p:sp>
    </p:spTree>
    <p:extLst>
      <p:ext uri="{BB962C8B-B14F-4D97-AF65-F5344CB8AC3E}">
        <p14:creationId xmlns:p14="http://schemas.microsoft.com/office/powerpoint/2010/main" val="229939756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37EFF-D475-4725-B0CD-B6C843414A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E0BEAB-7C3D-4186-AA3C-9C6D461525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AAC592-3119-4C8F-90DF-F6EC3F98F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93DF3-8EB6-4CD7-A415-70FC4E842897}" type="datetimeFigureOut">
              <a:rPr lang="en-US" smtClean="0"/>
              <a:t>9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B385E7-7933-4E5C-A01A-C92EE1781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ADF206-5DC5-405A-8C04-0F7B1A212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9164F8-5201-4619-A788-17FC3B1ED5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6828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94790" y="3059213"/>
            <a:ext cx="37232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94789" y="3495603"/>
            <a:ext cx="11148483" cy="868293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67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94789" y="3038197"/>
            <a:ext cx="11148227" cy="4574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1428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8246948" y="-14715"/>
            <a:ext cx="3945053" cy="687271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3" t="4" r="5895" b="11045"/>
          <a:stretch/>
        </p:blipFill>
        <p:spPr>
          <a:xfrm>
            <a:off x="0" y="-14386"/>
            <a:ext cx="7315200" cy="6872388"/>
          </a:xfrm>
          <a:prstGeom prst="rect">
            <a:avLst/>
          </a:prstGeom>
        </p:spPr>
      </p:pic>
      <p:sp>
        <p:nvSpPr>
          <p:cNvPr id="7" name="Parallelogram 6"/>
          <p:cNvSpPr/>
          <p:nvPr userDrawn="1"/>
        </p:nvSpPr>
        <p:spPr>
          <a:xfrm>
            <a:off x="6195982" y="-14387"/>
            <a:ext cx="3320585" cy="6872387"/>
          </a:xfrm>
          <a:prstGeom prst="parallelogram">
            <a:avLst>
              <a:gd name="adj" fmla="val 3335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7803081" y="1170392"/>
            <a:ext cx="4061816" cy="2560017"/>
          </a:xfrm>
        </p:spPr>
        <p:txBody>
          <a:bodyPr anchor="b" anchorCtr="0">
            <a:noAutofit/>
          </a:bodyPr>
          <a:lstStyle>
            <a:lvl1pPr>
              <a:defRPr sz="4267" spc="-133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7803081" y="4140654"/>
            <a:ext cx="4061816" cy="11432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 b="0">
                <a:solidFill>
                  <a:schemeClr val="bg2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7803082" y="5787351"/>
            <a:ext cx="4063233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803081" y="5512859"/>
            <a:ext cx="4061816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sp>
        <p:nvSpPr>
          <p:cNvPr id="4" name="Isosceles Triangle 3"/>
          <p:cNvSpPr/>
          <p:nvPr userDrawn="1"/>
        </p:nvSpPr>
        <p:spPr>
          <a:xfrm rot="10800000">
            <a:off x="-1323" y="-14385"/>
            <a:ext cx="2656469" cy="1525143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1" name="Isosceles Triangle 9"/>
          <p:cNvSpPr/>
          <p:nvPr userDrawn="1"/>
        </p:nvSpPr>
        <p:spPr>
          <a:xfrm>
            <a:off x="2583137" y="1161720"/>
            <a:ext cx="4532211" cy="5696280"/>
          </a:xfrm>
          <a:custGeom>
            <a:avLst/>
            <a:gdLst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356839 w 356839"/>
              <a:gd name="connsiteY2" fmla="*/ 1143857 h 1143857"/>
              <a:gd name="connsiteX3" fmla="*/ 0 w 356839"/>
              <a:gd name="connsiteY3" fmla="*/ 1143857 h 1143857"/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245326 w 356839"/>
              <a:gd name="connsiteY2" fmla="*/ 1143857 h 1143857"/>
              <a:gd name="connsiteX3" fmla="*/ 0 w 356839"/>
              <a:gd name="connsiteY3" fmla="*/ 1143857 h 1143857"/>
              <a:gd name="connsiteX0" fmla="*/ 0 w 308876"/>
              <a:gd name="connsiteY0" fmla="*/ 1149860 h 1149860"/>
              <a:gd name="connsiteX1" fmla="*/ 308876 w 308876"/>
              <a:gd name="connsiteY1" fmla="*/ 0 h 1149860"/>
              <a:gd name="connsiteX2" fmla="*/ 245326 w 308876"/>
              <a:gd name="connsiteY2" fmla="*/ 1149860 h 1149860"/>
              <a:gd name="connsiteX3" fmla="*/ 0 w 308876"/>
              <a:gd name="connsiteY3" fmla="*/ 1149860 h 114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76" h="1149860">
                <a:moveTo>
                  <a:pt x="0" y="1149860"/>
                </a:moveTo>
                <a:lnTo>
                  <a:pt x="308876" y="0"/>
                </a:lnTo>
                <a:lnTo>
                  <a:pt x="245326" y="1149860"/>
                </a:lnTo>
                <a:lnTo>
                  <a:pt x="0" y="114986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2" name="Isosceles Triangle 9"/>
          <p:cNvSpPr/>
          <p:nvPr userDrawn="1"/>
        </p:nvSpPr>
        <p:spPr>
          <a:xfrm rot="10800000">
            <a:off x="7115347" y="-14714"/>
            <a:ext cx="917735" cy="1176105"/>
          </a:xfrm>
          <a:custGeom>
            <a:avLst/>
            <a:gdLst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356839 w 356839"/>
              <a:gd name="connsiteY2" fmla="*/ 1143857 h 1143857"/>
              <a:gd name="connsiteX3" fmla="*/ 0 w 356839"/>
              <a:gd name="connsiteY3" fmla="*/ 1143857 h 1143857"/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245326 w 356839"/>
              <a:gd name="connsiteY2" fmla="*/ 1143857 h 1143857"/>
              <a:gd name="connsiteX3" fmla="*/ 0 w 356839"/>
              <a:gd name="connsiteY3" fmla="*/ 1143857 h 1143857"/>
              <a:gd name="connsiteX0" fmla="*/ 0 w 308876"/>
              <a:gd name="connsiteY0" fmla="*/ 1149860 h 1149860"/>
              <a:gd name="connsiteX1" fmla="*/ 308876 w 308876"/>
              <a:gd name="connsiteY1" fmla="*/ 0 h 1149860"/>
              <a:gd name="connsiteX2" fmla="*/ 245326 w 308876"/>
              <a:gd name="connsiteY2" fmla="*/ 1149860 h 1149860"/>
              <a:gd name="connsiteX3" fmla="*/ 0 w 308876"/>
              <a:gd name="connsiteY3" fmla="*/ 1149860 h 114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76" h="1149860">
                <a:moveTo>
                  <a:pt x="0" y="1149860"/>
                </a:moveTo>
                <a:lnTo>
                  <a:pt x="308876" y="0"/>
                </a:lnTo>
                <a:lnTo>
                  <a:pt x="245326" y="1149860"/>
                </a:lnTo>
                <a:lnTo>
                  <a:pt x="0" y="11498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4" name="Isosceles Triangle 13"/>
          <p:cNvSpPr/>
          <p:nvPr userDrawn="1"/>
        </p:nvSpPr>
        <p:spPr>
          <a:xfrm rot="10800000" flipV="1">
            <a:off x="-3" y="3356841"/>
            <a:ext cx="4440667" cy="3515583"/>
          </a:xfrm>
          <a:prstGeom prst="triangle">
            <a:avLst>
              <a:gd name="adj" fmla="val 10000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281" y="258082"/>
            <a:ext cx="805511" cy="338481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3081" y="3814659"/>
            <a:ext cx="1145067" cy="802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0519" y="935975"/>
            <a:ext cx="4885960" cy="943932"/>
          </a:xfrm>
          <a:prstGeom prst="rect">
            <a:avLst/>
          </a:prstGeom>
          <a:effectLst>
            <a:outerShdw blurRad="63500" algn="ctr" rotWithShape="0">
              <a:prstClr val="black">
                <a:alpha val="9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0704657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3" t="4" r="5895" b="11045"/>
          <a:stretch/>
        </p:blipFill>
        <p:spPr>
          <a:xfrm>
            <a:off x="0" y="-14386"/>
            <a:ext cx="7315200" cy="6872388"/>
          </a:xfrm>
          <a:prstGeom prst="rect">
            <a:avLst/>
          </a:prstGeom>
        </p:spPr>
      </p:pic>
      <p:sp>
        <p:nvSpPr>
          <p:cNvPr id="7" name="Parallelogram 6"/>
          <p:cNvSpPr/>
          <p:nvPr userDrawn="1"/>
        </p:nvSpPr>
        <p:spPr>
          <a:xfrm>
            <a:off x="6195982" y="-14387"/>
            <a:ext cx="3320585" cy="6872387"/>
          </a:xfrm>
          <a:prstGeom prst="parallelogram">
            <a:avLst>
              <a:gd name="adj" fmla="val 3335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7803081" y="1170392"/>
            <a:ext cx="4061816" cy="2560017"/>
          </a:xfrm>
        </p:spPr>
        <p:txBody>
          <a:bodyPr anchor="b" anchorCtr="0">
            <a:noAutofit/>
          </a:bodyPr>
          <a:lstStyle>
            <a:lvl1pPr>
              <a:defRPr sz="4267" spc="-133" baseline="0">
                <a:solidFill>
                  <a:schemeClr val="accent2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7803081" y="4140654"/>
            <a:ext cx="4061816" cy="11432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4" name="Isosceles Triangle 3"/>
          <p:cNvSpPr/>
          <p:nvPr userDrawn="1"/>
        </p:nvSpPr>
        <p:spPr>
          <a:xfrm rot="10800000">
            <a:off x="-1323" y="-14385"/>
            <a:ext cx="2656469" cy="1525143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1" name="Isosceles Triangle 9"/>
          <p:cNvSpPr/>
          <p:nvPr userDrawn="1"/>
        </p:nvSpPr>
        <p:spPr>
          <a:xfrm>
            <a:off x="2583137" y="1161720"/>
            <a:ext cx="4532211" cy="5696280"/>
          </a:xfrm>
          <a:custGeom>
            <a:avLst/>
            <a:gdLst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356839 w 356839"/>
              <a:gd name="connsiteY2" fmla="*/ 1143857 h 1143857"/>
              <a:gd name="connsiteX3" fmla="*/ 0 w 356839"/>
              <a:gd name="connsiteY3" fmla="*/ 1143857 h 1143857"/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245326 w 356839"/>
              <a:gd name="connsiteY2" fmla="*/ 1143857 h 1143857"/>
              <a:gd name="connsiteX3" fmla="*/ 0 w 356839"/>
              <a:gd name="connsiteY3" fmla="*/ 1143857 h 1143857"/>
              <a:gd name="connsiteX0" fmla="*/ 0 w 308876"/>
              <a:gd name="connsiteY0" fmla="*/ 1149860 h 1149860"/>
              <a:gd name="connsiteX1" fmla="*/ 308876 w 308876"/>
              <a:gd name="connsiteY1" fmla="*/ 0 h 1149860"/>
              <a:gd name="connsiteX2" fmla="*/ 245326 w 308876"/>
              <a:gd name="connsiteY2" fmla="*/ 1149860 h 1149860"/>
              <a:gd name="connsiteX3" fmla="*/ 0 w 308876"/>
              <a:gd name="connsiteY3" fmla="*/ 1149860 h 114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76" h="1149860">
                <a:moveTo>
                  <a:pt x="0" y="1149860"/>
                </a:moveTo>
                <a:lnTo>
                  <a:pt x="308876" y="0"/>
                </a:lnTo>
                <a:lnTo>
                  <a:pt x="245326" y="1149860"/>
                </a:lnTo>
                <a:lnTo>
                  <a:pt x="0" y="114986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2" name="Isosceles Triangle 9"/>
          <p:cNvSpPr/>
          <p:nvPr userDrawn="1"/>
        </p:nvSpPr>
        <p:spPr>
          <a:xfrm rot="10800000">
            <a:off x="7115347" y="-14714"/>
            <a:ext cx="917735" cy="1176105"/>
          </a:xfrm>
          <a:custGeom>
            <a:avLst/>
            <a:gdLst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356839 w 356839"/>
              <a:gd name="connsiteY2" fmla="*/ 1143857 h 1143857"/>
              <a:gd name="connsiteX3" fmla="*/ 0 w 356839"/>
              <a:gd name="connsiteY3" fmla="*/ 1143857 h 1143857"/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245326 w 356839"/>
              <a:gd name="connsiteY2" fmla="*/ 1143857 h 1143857"/>
              <a:gd name="connsiteX3" fmla="*/ 0 w 356839"/>
              <a:gd name="connsiteY3" fmla="*/ 1143857 h 1143857"/>
              <a:gd name="connsiteX0" fmla="*/ 0 w 308876"/>
              <a:gd name="connsiteY0" fmla="*/ 1149860 h 1149860"/>
              <a:gd name="connsiteX1" fmla="*/ 308876 w 308876"/>
              <a:gd name="connsiteY1" fmla="*/ 0 h 1149860"/>
              <a:gd name="connsiteX2" fmla="*/ 245326 w 308876"/>
              <a:gd name="connsiteY2" fmla="*/ 1149860 h 1149860"/>
              <a:gd name="connsiteX3" fmla="*/ 0 w 308876"/>
              <a:gd name="connsiteY3" fmla="*/ 1149860 h 114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76" h="1149860">
                <a:moveTo>
                  <a:pt x="0" y="1149860"/>
                </a:moveTo>
                <a:lnTo>
                  <a:pt x="308876" y="0"/>
                </a:lnTo>
                <a:lnTo>
                  <a:pt x="245326" y="1149860"/>
                </a:lnTo>
                <a:lnTo>
                  <a:pt x="0" y="11498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4" name="Isosceles Triangle 13"/>
          <p:cNvSpPr/>
          <p:nvPr userDrawn="1"/>
        </p:nvSpPr>
        <p:spPr>
          <a:xfrm rot="10800000" flipV="1">
            <a:off x="-3" y="3356841"/>
            <a:ext cx="4440667" cy="3515583"/>
          </a:xfrm>
          <a:prstGeom prst="triangle">
            <a:avLst>
              <a:gd name="adj" fmla="val 10000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281" y="258082"/>
            <a:ext cx="805511" cy="338481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3081" y="3814659"/>
            <a:ext cx="1145067" cy="8023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0519" y="935975"/>
            <a:ext cx="4885960" cy="943932"/>
          </a:xfrm>
          <a:prstGeom prst="rect">
            <a:avLst/>
          </a:prstGeom>
          <a:effectLst>
            <a:outerShdw blurRad="63500" algn="ctr" rotWithShape="0">
              <a:prstClr val="black">
                <a:alpha val="90000"/>
              </a:prstClr>
            </a:outerShdw>
          </a:effectLst>
        </p:spPr>
      </p:pic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803081" y="5512859"/>
            <a:ext cx="4061816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sp>
        <p:nvSpPr>
          <p:cNvPr id="15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7803082" y="5787351"/>
            <a:ext cx="4063233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07682308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0703" y="1656197"/>
            <a:ext cx="11137644" cy="4511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93225" y="6483600"/>
            <a:ext cx="624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76271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6"/>
            <a:ext cx="11148483" cy="59693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0703" y="1656002"/>
            <a:ext cx="11137644" cy="43344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8665284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051119" y="6539019"/>
            <a:ext cx="624000" cy="18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284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656002"/>
            <a:ext cx="5462923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656002"/>
            <a:ext cx="54624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287484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7752" y="1656002"/>
            <a:ext cx="5462923" cy="4338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178103" y="1656002"/>
            <a:ext cx="5462400" cy="4338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89016"/>
            <a:ext cx="11148483" cy="59693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659225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755763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48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09861" y="993871"/>
            <a:ext cx="11148483" cy="562344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133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480414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37769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1141527" y="1089791"/>
            <a:ext cx="9781712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68" y="1219203"/>
            <a:ext cx="9489000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533">
                <a:solidFill>
                  <a:schemeClr val="tx2"/>
                </a:solidFill>
              </a:defRPr>
            </a:lvl1pPr>
            <a:lvl2pPr marL="118528" indent="0">
              <a:buFontTx/>
              <a:buNone/>
              <a:defRPr sz="4800"/>
            </a:lvl2pPr>
            <a:lvl3pPr marL="357698" indent="0">
              <a:buFontTx/>
              <a:buNone/>
              <a:defRPr sz="4800"/>
            </a:lvl3pPr>
            <a:lvl4pPr marL="596870" indent="0">
              <a:buFontTx/>
              <a:buNone/>
              <a:defRPr sz="4800"/>
            </a:lvl4pPr>
            <a:lvl5pPr marL="836042" indent="0">
              <a:buFontTx/>
              <a:buNone/>
              <a:defRPr sz="4800"/>
            </a:lvl5pPr>
          </a:lstStyle>
          <a:p>
            <a:pPr lvl="0"/>
            <a:r>
              <a:rPr lang="fi-FI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2538751571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1141527" y="1089794"/>
            <a:ext cx="9781712" cy="4764639"/>
            <a:chOff x="856145" y="813567"/>
            <a:chExt cx="7460544" cy="359627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550"/>
              <a:ext cx="185933" cy="141296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69" y="1219203"/>
            <a:ext cx="9489001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533">
                <a:solidFill>
                  <a:schemeClr val="accent2"/>
                </a:solidFill>
              </a:defRPr>
            </a:lvl1pPr>
            <a:lvl2pPr marL="118528" indent="0">
              <a:buFontTx/>
              <a:buNone/>
              <a:defRPr sz="4800"/>
            </a:lvl2pPr>
            <a:lvl3pPr marL="357698" indent="0">
              <a:buFontTx/>
              <a:buNone/>
              <a:defRPr sz="4800"/>
            </a:lvl3pPr>
            <a:lvl4pPr marL="596870" indent="0">
              <a:buFontTx/>
              <a:buNone/>
              <a:defRPr sz="4800"/>
            </a:lvl4pPr>
            <a:lvl5pPr marL="836042" indent="0">
              <a:buFontTx/>
              <a:buNone/>
              <a:defRPr sz="4800"/>
            </a:lvl5pPr>
          </a:lstStyle>
          <a:p>
            <a:pPr lvl="0"/>
            <a:r>
              <a:rPr lang="fi-FI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2228228051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Ryhmä 1"/>
          <p:cNvGrpSpPr/>
          <p:nvPr userDrawn="1"/>
        </p:nvGrpSpPr>
        <p:grpSpPr>
          <a:xfrm>
            <a:off x="1141527" y="1084759"/>
            <a:ext cx="9781712" cy="4793660"/>
            <a:chOff x="856145" y="813567"/>
            <a:chExt cx="7460544" cy="3595246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00A4B6">
                  <a:alpha val="7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6391864" y="4268413"/>
              <a:ext cx="185933" cy="140400"/>
            </a:xfrm>
            <a:prstGeom prst="ellipse">
              <a:avLst/>
            </a:prstGeom>
            <a:solidFill>
              <a:srgbClr val="00A4B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295465" y="1219203"/>
            <a:ext cx="9489003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533">
                <a:solidFill>
                  <a:srgbClr val="00A4B6"/>
                </a:solidFill>
              </a:defRPr>
            </a:lvl1pPr>
            <a:lvl2pPr marL="118528" indent="0">
              <a:buFontTx/>
              <a:buNone/>
              <a:defRPr sz="4800"/>
            </a:lvl2pPr>
            <a:lvl3pPr marL="357698" indent="0">
              <a:buFontTx/>
              <a:buNone/>
              <a:defRPr sz="4800"/>
            </a:lvl3pPr>
            <a:lvl4pPr marL="596870" indent="0">
              <a:buFontTx/>
              <a:buNone/>
              <a:defRPr sz="4800"/>
            </a:lvl4pPr>
            <a:lvl5pPr marL="836042" indent="0">
              <a:buFontTx/>
              <a:buNone/>
              <a:defRPr sz="4800"/>
            </a:lvl5pPr>
          </a:lstStyle>
          <a:p>
            <a:pPr lvl="0"/>
            <a:r>
              <a:rPr lang="fi-FI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2093124646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22816" y="1655765"/>
            <a:ext cx="5424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6254677" y="1655765"/>
            <a:ext cx="5403667" cy="45116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/>
              <a:t>Click icon to add picture</a:t>
            </a:r>
            <a:br>
              <a:rPr lang="fi-FI"/>
            </a:br>
            <a:br>
              <a:rPr lang="fi-FI"/>
            </a:br>
            <a:r>
              <a:rPr lang="en-US" cap="none" baseline="0" dirty="0"/>
              <a:t>Go to the speaker notes of this slide for instructions on how to add pictures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514755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246948" y="-14715"/>
            <a:ext cx="3945053" cy="687271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3" t="4" r="5895" b="11045"/>
          <a:stretch/>
        </p:blipFill>
        <p:spPr>
          <a:xfrm>
            <a:off x="0" y="-14386"/>
            <a:ext cx="7315200" cy="6872388"/>
          </a:xfrm>
          <a:prstGeom prst="rect">
            <a:avLst/>
          </a:prstGeom>
        </p:spPr>
      </p:pic>
      <p:sp>
        <p:nvSpPr>
          <p:cNvPr id="8" name="Parallelogram 7"/>
          <p:cNvSpPr/>
          <p:nvPr userDrawn="1"/>
        </p:nvSpPr>
        <p:spPr>
          <a:xfrm>
            <a:off x="6195982" y="-14387"/>
            <a:ext cx="3320585" cy="6872387"/>
          </a:xfrm>
          <a:prstGeom prst="parallelogram">
            <a:avLst>
              <a:gd name="adj" fmla="val 3335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0" name="Isosceles Triangle 9"/>
          <p:cNvSpPr/>
          <p:nvPr userDrawn="1"/>
        </p:nvSpPr>
        <p:spPr>
          <a:xfrm>
            <a:off x="2583137" y="1161720"/>
            <a:ext cx="4532211" cy="5696280"/>
          </a:xfrm>
          <a:custGeom>
            <a:avLst/>
            <a:gdLst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356839 w 356839"/>
              <a:gd name="connsiteY2" fmla="*/ 1143857 h 1143857"/>
              <a:gd name="connsiteX3" fmla="*/ 0 w 356839"/>
              <a:gd name="connsiteY3" fmla="*/ 1143857 h 1143857"/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245326 w 356839"/>
              <a:gd name="connsiteY2" fmla="*/ 1143857 h 1143857"/>
              <a:gd name="connsiteX3" fmla="*/ 0 w 356839"/>
              <a:gd name="connsiteY3" fmla="*/ 1143857 h 1143857"/>
              <a:gd name="connsiteX0" fmla="*/ 0 w 308876"/>
              <a:gd name="connsiteY0" fmla="*/ 1149860 h 1149860"/>
              <a:gd name="connsiteX1" fmla="*/ 308876 w 308876"/>
              <a:gd name="connsiteY1" fmla="*/ 0 h 1149860"/>
              <a:gd name="connsiteX2" fmla="*/ 245326 w 308876"/>
              <a:gd name="connsiteY2" fmla="*/ 1149860 h 1149860"/>
              <a:gd name="connsiteX3" fmla="*/ 0 w 308876"/>
              <a:gd name="connsiteY3" fmla="*/ 1149860 h 114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76" h="1149860">
                <a:moveTo>
                  <a:pt x="0" y="1149860"/>
                </a:moveTo>
                <a:lnTo>
                  <a:pt x="308876" y="0"/>
                </a:lnTo>
                <a:lnTo>
                  <a:pt x="245326" y="1149860"/>
                </a:lnTo>
                <a:lnTo>
                  <a:pt x="0" y="114986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1" name="Isosceles Triangle 9"/>
          <p:cNvSpPr/>
          <p:nvPr userDrawn="1"/>
        </p:nvSpPr>
        <p:spPr>
          <a:xfrm rot="10800000">
            <a:off x="7115347" y="-14714"/>
            <a:ext cx="917735" cy="1176105"/>
          </a:xfrm>
          <a:custGeom>
            <a:avLst/>
            <a:gdLst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356839 w 356839"/>
              <a:gd name="connsiteY2" fmla="*/ 1143857 h 1143857"/>
              <a:gd name="connsiteX3" fmla="*/ 0 w 356839"/>
              <a:gd name="connsiteY3" fmla="*/ 1143857 h 1143857"/>
              <a:gd name="connsiteX0" fmla="*/ 0 w 356839"/>
              <a:gd name="connsiteY0" fmla="*/ 1143857 h 1143857"/>
              <a:gd name="connsiteX1" fmla="*/ 356839 w 356839"/>
              <a:gd name="connsiteY1" fmla="*/ 0 h 1143857"/>
              <a:gd name="connsiteX2" fmla="*/ 245326 w 356839"/>
              <a:gd name="connsiteY2" fmla="*/ 1143857 h 1143857"/>
              <a:gd name="connsiteX3" fmla="*/ 0 w 356839"/>
              <a:gd name="connsiteY3" fmla="*/ 1143857 h 1143857"/>
              <a:gd name="connsiteX0" fmla="*/ 0 w 308876"/>
              <a:gd name="connsiteY0" fmla="*/ 1149860 h 1149860"/>
              <a:gd name="connsiteX1" fmla="*/ 308876 w 308876"/>
              <a:gd name="connsiteY1" fmla="*/ 0 h 1149860"/>
              <a:gd name="connsiteX2" fmla="*/ 245326 w 308876"/>
              <a:gd name="connsiteY2" fmla="*/ 1149860 h 1149860"/>
              <a:gd name="connsiteX3" fmla="*/ 0 w 308876"/>
              <a:gd name="connsiteY3" fmla="*/ 1149860 h 114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76" h="1149860">
                <a:moveTo>
                  <a:pt x="0" y="1149860"/>
                </a:moveTo>
                <a:lnTo>
                  <a:pt x="308876" y="0"/>
                </a:lnTo>
                <a:lnTo>
                  <a:pt x="245326" y="1149860"/>
                </a:lnTo>
                <a:lnTo>
                  <a:pt x="0" y="11498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sp>
        <p:nvSpPr>
          <p:cNvPr id="12" name="Isosceles Triangle 11"/>
          <p:cNvSpPr/>
          <p:nvPr userDrawn="1"/>
        </p:nvSpPr>
        <p:spPr>
          <a:xfrm rot="10800000" flipV="1">
            <a:off x="-3" y="3356841"/>
            <a:ext cx="4440667" cy="3515583"/>
          </a:xfrm>
          <a:prstGeom prst="triangle">
            <a:avLst>
              <a:gd name="adj" fmla="val 10000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9596" y="5193621"/>
            <a:ext cx="3730413" cy="8579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0519" y="935975"/>
            <a:ext cx="4885960" cy="943932"/>
          </a:xfrm>
          <a:prstGeom prst="rect">
            <a:avLst/>
          </a:prstGeom>
          <a:effectLst>
            <a:outerShdw blurRad="63500" algn="ctr" rotWithShape="0">
              <a:prstClr val="black">
                <a:alpha val="90000"/>
              </a:prstClr>
            </a:outerShdw>
          </a:effectLst>
        </p:spPr>
      </p:pic>
      <p:sp>
        <p:nvSpPr>
          <p:cNvPr id="15" name="Isosceles Triangle 14"/>
          <p:cNvSpPr/>
          <p:nvPr userDrawn="1"/>
        </p:nvSpPr>
        <p:spPr>
          <a:xfrm rot="10800000">
            <a:off x="-1323" y="-14385"/>
            <a:ext cx="2656469" cy="1525143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</p:spTree>
    <p:extLst>
      <p:ext uri="{BB962C8B-B14F-4D97-AF65-F5344CB8AC3E}">
        <p14:creationId xmlns:p14="http://schemas.microsoft.com/office/powerpoint/2010/main" val="386192511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Relationship Id="rId27" Type="http://schemas.openxmlformats.org/officeDocument/2006/relationships/image" Target="../media/image3.emf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5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2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5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41" Type="http://schemas.openxmlformats.org/officeDocument/2006/relationships/image" Target="../media/image11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theme" Target="../theme/theme6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8.xml"/><Relationship Id="rId21" Type="http://schemas.openxmlformats.org/officeDocument/2006/relationships/image" Target="../media/image32.emf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5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image" Target="../media/image1.jpg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12192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en-US" sz="2133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117" y="560241"/>
            <a:ext cx="11148227" cy="54148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51119" y="6503424"/>
            <a:ext cx="624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70D2085-EB16-4CEF-A7DB-0C95951A73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4805" y="1647827"/>
            <a:ext cx="11133539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493" y="6368228"/>
            <a:ext cx="701475" cy="28800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2E68F2E-390D-4264-8003-400F1C7D249F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91666019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16" imgH="216" progId="TCLayout.ActiveDocument.1">
                  <p:embed/>
                </p:oleObj>
              </mc:Choice>
              <mc:Fallback>
                <p:oleObj name="think-cell Slide" r:id="rId26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2E68F2E-390D-4264-8003-400F1C7D2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B3F3D0F-1864-4490-9555-654CD9908B1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933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798" r:id="rId20"/>
  </p:sldLayoutIdLst>
  <p:txStyles>
    <p:titleStyle>
      <a:lvl1pPr algn="l" defTabSz="609570" rtl="0" eaLnBrk="1" latinLnBrk="0" hangingPunct="1">
        <a:lnSpc>
          <a:spcPct val="80000"/>
        </a:lnSpc>
        <a:spcBef>
          <a:spcPct val="0"/>
        </a:spcBef>
        <a:buNone/>
        <a:defRPr sz="2667" b="1" kern="1200">
          <a:solidFill>
            <a:schemeClr val="accent6">
              <a:lumMod val="60000"/>
              <a:lumOff val="40000"/>
            </a:schemeClr>
          </a:solidFill>
          <a:latin typeface="+mj-lt"/>
          <a:ea typeface="+mj-ea"/>
          <a:cs typeface="+mj-cs"/>
        </a:defRPr>
      </a:lvl1pPr>
    </p:titleStyle>
    <p:bodyStyle>
      <a:lvl1pPr marL="241289" marR="0" indent="-241289" algn="l" defTabSz="1219140" rtl="0" eaLnBrk="1" fontAlgn="auto" latinLnBrk="0" hangingPunct="1">
        <a:lnSpc>
          <a:spcPct val="100000"/>
        </a:lnSpc>
        <a:spcBef>
          <a:spcPts val="16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867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482576" marR="0" indent="-241289" algn="l" defTabSz="121914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Tx/>
        <a:buFont typeface="Lucida Grande"/>
        <a:buChar char="–"/>
        <a:tabLst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723865" marR="0" indent="-241289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467" kern="1200">
          <a:solidFill>
            <a:schemeClr val="accent2"/>
          </a:solidFill>
          <a:latin typeface="+mn-lt"/>
          <a:ea typeface="+mn-ea"/>
          <a:cs typeface="+mn-cs"/>
        </a:defRPr>
      </a:lvl3pPr>
      <a:lvl4pPr marL="836042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075213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479976" indent="-239989" algn="l" defTabSz="60957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760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</p:sldLayoutIdLst>
  <p:txStyles>
    <p:titleStyle>
      <a:lvl1pPr algn="l" defTabSz="609612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3" indent="-152403" algn="l" defTabSz="60961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15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21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28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34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40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046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852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06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12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18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24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30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36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643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449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9F6763-C3A9-4D9E-B8A6-EFFDC6120C55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8711915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9F6763-C3A9-4D9E-B8A6-EFFDC6120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EAB3EA-531D-448F-B93F-21FFEAE878F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4805" y="1647827"/>
            <a:ext cx="11133539" cy="424497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176562"/>
            <a:ext cx="12192000" cy="68143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en-US" sz="2133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6332951"/>
            <a:ext cx="1016000" cy="36285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EE7885B-C7F8-4DEA-8976-0EA831D35F27}"/>
              </a:ext>
            </a:extLst>
          </p:cNvPr>
          <p:cNvSpPr txBox="1"/>
          <p:nvPr/>
        </p:nvSpPr>
        <p:spPr>
          <a:xfrm>
            <a:off x="9236743" y="6329659"/>
            <a:ext cx="2573867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812520"/>
            <a:fld id="{20FE1394-D253-4CE5-A9AB-BD3577C7D03F}" type="slidenum">
              <a:rPr lang="en-GB" sz="1333" b="0">
                <a:solidFill>
                  <a:schemeClr val="bg1"/>
                </a:solidFill>
              </a:rPr>
              <a:pPr algn="r" defTabSz="812520"/>
              <a:t>‹#›</a:t>
            </a:fld>
            <a:endParaRPr lang="en-GB" sz="1333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797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</p:sldLayoutIdLst>
  <p:hf hdr="0" dt="0"/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34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1294" marR="0" indent="-241294" algn="l" defTabSz="1219170" rtl="0" eaLnBrk="1" fontAlgn="auto" latinLnBrk="0" hangingPunct="1">
        <a:lnSpc>
          <a:spcPct val="100000"/>
        </a:lnSpc>
        <a:spcBef>
          <a:spcPts val="16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8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82588" marR="0" indent="-241294" algn="l" defTabSz="121917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Tx/>
        <a:buFont typeface="Lucida Grande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82" marR="0" indent="-241294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836063" marR="0" indent="-239178" algn="l" defTabSz="121917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075240" marR="0" indent="-239178" algn="l" defTabSz="121917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479988" indent="-239994" algn="l" defTabSz="609585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09585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09585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828" y="0"/>
            <a:ext cx="12200827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8828" y="0"/>
            <a:ext cx="12200827" cy="6858000"/>
          </a:xfrm>
          <a:prstGeom prst="rect">
            <a:avLst/>
          </a:prstGeom>
          <a:gradFill flip="none" rotWithShape="1">
            <a:gsLst>
              <a:gs pos="0">
                <a:srgbClr val="00565B">
                  <a:alpha val="86000"/>
                </a:srgbClr>
              </a:gs>
              <a:gs pos="100000">
                <a:srgbClr val="00565B">
                  <a:alpha val="74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59" y="3045243"/>
            <a:ext cx="4600120" cy="76751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85957" y="6377127"/>
            <a:ext cx="878517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0" i="0" dirty="0">
                <a:solidFill>
                  <a:schemeClr val="bg1"/>
                </a:solidFill>
              </a:rPr>
              <a:t>©2018 FIS and/or its subsidiaries. All Rights Reserved.</a:t>
            </a:r>
            <a:r>
              <a:rPr lang="en-US" sz="1067" b="0" i="0" baseline="0" dirty="0">
                <a:solidFill>
                  <a:schemeClr val="bg1"/>
                </a:solidFill>
              </a:rPr>
              <a:t> </a:t>
            </a:r>
            <a:r>
              <a:rPr lang="en-US" sz="1067" b="0" i="0" dirty="0">
                <a:solidFill>
                  <a:schemeClr val="bg1"/>
                </a:solidFill>
                <a:cs typeface="Arial"/>
              </a:rPr>
              <a:t>FIS confidential and proprietar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329845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rgbClr val="00565B"/>
          </a:solidFill>
          <a:latin typeface="Arial" charset="0"/>
          <a:ea typeface="Arial" charset="0"/>
          <a:cs typeface="Arial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5" y="0"/>
            <a:ext cx="12195088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86000"/>
                </a:schemeClr>
              </a:gs>
              <a:gs pos="100000">
                <a:schemeClr val="bg1">
                  <a:alpha val="3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7" y="292439"/>
            <a:ext cx="1259508" cy="8396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323065" y="6574384"/>
            <a:ext cx="37617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ONFIDENTIAL AND PROPRIETAR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7" y="292439"/>
            <a:ext cx="1259508" cy="83967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323065" y="6574384"/>
            <a:ext cx="37617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chemeClr val="bg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731276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565B"/>
          </a:solidFill>
          <a:latin typeface="Arial" charset="0"/>
          <a:ea typeface="Arial" charset="0"/>
          <a:cs typeface="Arial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" y="2"/>
            <a:ext cx="12190993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30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</p:sldLayoutIdLst>
  <p:hf hdr="0" ft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642566"/>
          </a:solidFill>
          <a:latin typeface="+mj-lt"/>
          <a:ea typeface="+mj-ea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rgbClr val="807F83"/>
          </a:solidFill>
          <a:latin typeface="Arial" charset="0"/>
          <a:cs typeface="Arial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rgbClr val="807F83"/>
          </a:solidFill>
          <a:latin typeface="Arial" charset="0"/>
          <a:cs typeface="Arial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rgbClr val="807F83"/>
          </a:solidFill>
          <a:latin typeface="Arial" charset="0"/>
          <a:cs typeface="Arial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rgbClr val="807F83"/>
          </a:solidFill>
          <a:latin typeface="Arial" charset="0"/>
          <a:cs typeface="Arial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cs typeface="Arial" charset="0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cs typeface="Arial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cs typeface="Arial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3034" indent="-173034" algn="l" defTabSz="457189" rtl="0" eaLnBrk="1" fontAlgn="base" hangingPunct="1">
        <a:spcBef>
          <a:spcPct val="20000"/>
        </a:spcBef>
        <a:spcAft>
          <a:spcPct val="0"/>
        </a:spcAft>
        <a:buClrTx/>
        <a:buSzPct val="120000"/>
        <a:buFont typeface="Arial" charset="0"/>
        <a:buChar char="•"/>
        <a:defRPr sz="1800" b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/>
        </a:defRPr>
      </a:lvl1pPr>
      <a:lvl2pPr marL="400041" indent="-230182" algn="l" defTabSz="457189" rtl="0" eaLnBrk="1" fontAlgn="base" hangingPunct="1">
        <a:spcBef>
          <a:spcPct val="20000"/>
        </a:spcBef>
        <a:spcAft>
          <a:spcPct val="0"/>
        </a:spcAft>
        <a:buClrTx/>
        <a:buSzPct val="110000"/>
        <a:buFont typeface="Arial" charset="0"/>
        <a:buChar char="–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/>
        </a:defRPr>
      </a:lvl2pPr>
      <a:lvl3pPr marL="514338" indent="-117472" algn="l" defTabSz="457189" rtl="0" eaLnBrk="1" fontAlgn="base" hangingPunct="1">
        <a:spcBef>
          <a:spcPct val="20000"/>
        </a:spcBef>
        <a:spcAft>
          <a:spcPct val="0"/>
        </a:spcAft>
        <a:buClrTx/>
        <a:buFont typeface="Arial" charset="0"/>
        <a:buChar char="•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/>
        </a:defRPr>
      </a:lvl3pPr>
      <a:lvl4pPr marL="682608" indent="-173034" algn="l" defTabSz="457189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/>
        </a:defRPr>
      </a:lvl4pPr>
      <a:lvl5pPr marL="803255" indent="-122236" algn="l" defTabSz="457189" rtl="0" eaLnBrk="1" fontAlgn="base" hangingPunct="1">
        <a:spcBef>
          <a:spcPct val="20000"/>
        </a:spcBef>
        <a:spcAft>
          <a:spcPct val="0"/>
        </a:spcAft>
        <a:buClrTx/>
        <a:buFont typeface="Arial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4805" y="1647827"/>
            <a:ext cx="11133539" cy="424497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176563"/>
            <a:ext cx="12192000" cy="68143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en-US" sz="2133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6332951"/>
            <a:ext cx="1016000" cy="36285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EE7885B-C7F8-4DEA-8976-0EA831D35F27}"/>
              </a:ext>
            </a:extLst>
          </p:cNvPr>
          <p:cNvSpPr txBox="1"/>
          <p:nvPr/>
        </p:nvSpPr>
        <p:spPr>
          <a:xfrm>
            <a:off x="9236744" y="6329660"/>
            <a:ext cx="2573867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812500"/>
            <a:fld id="{20FE1394-D253-4CE5-A9AB-BD3577C7D03F}" type="slidenum">
              <a:rPr lang="en-GB" sz="1333" b="0">
                <a:solidFill>
                  <a:schemeClr val="bg1"/>
                </a:solidFill>
              </a:rPr>
              <a:pPr algn="r" defTabSz="812500"/>
              <a:t>‹#›</a:t>
            </a:fld>
            <a:endParaRPr lang="en-GB" sz="1333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713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49" r:id="rId37"/>
    <p:sldLayoutId id="2147483750" r:id="rId38"/>
    <p:sldLayoutId id="2147483751" r:id="rId39"/>
  </p:sldLayoutIdLst>
  <p:txStyles>
    <p:titleStyle>
      <a:lvl1pPr algn="l" defTabSz="609570" rtl="0" eaLnBrk="1" latinLnBrk="0" hangingPunct="1">
        <a:lnSpc>
          <a:spcPct val="80000"/>
        </a:lnSpc>
        <a:spcBef>
          <a:spcPct val="0"/>
        </a:spcBef>
        <a:buNone/>
        <a:defRPr sz="34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1289" marR="0" indent="-241289" algn="l" defTabSz="1219140" rtl="0" eaLnBrk="1" fontAlgn="auto" latinLnBrk="0" hangingPunct="1">
        <a:lnSpc>
          <a:spcPct val="100000"/>
        </a:lnSpc>
        <a:spcBef>
          <a:spcPts val="16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8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82576" marR="0" indent="-241289" algn="l" defTabSz="121914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Tx/>
        <a:buFont typeface="Lucida Grande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65" marR="0" indent="-241289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836042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075213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479976" indent="-239989" algn="l" defTabSz="60957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117" y="511079"/>
            <a:ext cx="11148227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93225" y="6483600"/>
            <a:ext cx="624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4805" y="1647827"/>
            <a:ext cx="11133539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710" y="6421864"/>
            <a:ext cx="583457" cy="239547"/>
          </a:xfrm>
          <a:prstGeom prst="rect">
            <a:avLst/>
          </a:prstGeom>
        </p:spPr>
      </p:pic>
      <p:sp>
        <p:nvSpPr>
          <p:cNvPr id="14" name="Isosceles Triangle 13"/>
          <p:cNvSpPr/>
          <p:nvPr/>
        </p:nvSpPr>
        <p:spPr>
          <a:xfrm rot="5400000">
            <a:off x="86065" y="6417359"/>
            <a:ext cx="354579" cy="526711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nl-BE" sz="2133" b="1" err="1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832899" y="6405424"/>
            <a:ext cx="1825447" cy="351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50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</p:sldLayoutIdLst>
  <p:transition/>
  <p:hf sldNum="0" hdr="0" ftr="0" dt="0"/>
  <p:txStyles>
    <p:titleStyle>
      <a:lvl1pPr algn="l" defTabSz="609570" rtl="0" eaLnBrk="1" latinLnBrk="0" hangingPunct="1">
        <a:lnSpc>
          <a:spcPct val="80000"/>
        </a:lnSpc>
        <a:spcBef>
          <a:spcPct val="0"/>
        </a:spcBef>
        <a:buNone/>
        <a:defRPr sz="3467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41289" marR="0" indent="-241289" algn="l" defTabSz="1219140" rtl="0" eaLnBrk="1" fontAlgn="auto" latinLnBrk="0" hangingPunct="1">
        <a:lnSpc>
          <a:spcPct val="100000"/>
        </a:lnSpc>
        <a:spcBef>
          <a:spcPts val="16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8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82576" marR="0" indent="-241289" algn="l" defTabSz="121914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Tx/>
        <a:buFont typeface="Lucida Grande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65" marR="0" indent="-241289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836042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075213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479976" indent="-239989" algn="l" defTabSz="60957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12192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en-US" sz="2133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117" y="560241"/>
            <a:ext cx="11148227" cy="54148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51119" y="6503424"/>
            <a:ext cx="624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4805" y="1647827"/>
            <a:ext cx="11133539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493" y="6368228"/>
            <a:ext cx="701475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881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2" r:id="rId21"/>
    <p:sldLayoutId id="2147483793" r:id="rId22"/>
    <p:sldLayoutId id="2147483794" r:id="rId23"/>
    <p:sldLayoutId id="2147483795" r:id="rId24"/>
  </p:sldLayoutIdLst>
  <p:hf hdr="0" dt="0"/>
  <p:txStyles>
    <p:titleStyle>
      <a:lvl1pPr algn="l" defTabSz="609570" rtl="0" eaLnBrk="1" latinLnBrk="0" hangingPunct="1">
        <a:lnSpc>
          <a:spcPct val="80000"/>
        </a:lnSpc>
        <a:spcBef>
          <a:spcPct val="0"/>
        </a:spcBef>
        <a:buNone/>
        <a:defRPr sz="2667" b="1" kern="1200">
          <a:solidFill>
            <a:schemeClr val="accent6">
              <a:lumMod val="60000"/>
              <a:lumOff val="40000"/>
            </a:schemeClr>
          </a:solidFill>
          <a:latin typeface="+mj-lt"/>
          <a:ea typeface="+mj-ea"/>
          <a:cs typeface="+mj-cs"/>
        </a:defRPr>
      </a:lvl1pPr>
    </p:titleStyle>
    <p:bodyStyle>
      <a:lvl1pPr marL="241289" marR="0" indent="-241289" algn="l" defTabSz="1219140" rtl="0" eaLnBrk="1" fontAlgn="auto" latinLnBrk="0" hangingPunct="1">
        <a:lnSpc>
          <a:spcPct val="100000"/>
        </a:lnSpc>
        <a:spcBef>
          <a:spcPts val="16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867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482576" marR="0" indent="-241289" algn="l" defTabSz="121914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Tx/>
        <a:buFont typeface="Lucida Grande"/>
        <a:buChar char="–"/>
        <a:tabLst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723865" marR="0" indent="-241289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467" kern="1200">
          <a:solidFill>
            <a:schemeClr val="accent2"/>
          </a:solidFill>
          <a:latin typeface="+mn-lt"/>
          <a:ea typeface="+mn-ea"/>
          <a:cs typeface="+mn-cs"/>
        </a:defRPr>
      </a:lvl3pPr>
      <a:lvl4pPr marL="836042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075213" marR="0" indent="-239173" algn="l" defTabSz="121914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479976" indent="-239989" algn="l" defTabSz="60957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09570" rtl="0" eaLnBrk="1" latinLnBrk="0" hangingPunct="1">
        <a:lnSpc>
          <a:spcPct val="120000"/>
        </a:lnSpc>
        <a:spcBef>
          <a:spcPts val="0"/>
        </a:spcBef>
        <a:buFont typeface="Arial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6072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8" r:id="rId23"/>
  </p:sldLayoutIdLst>
  <p:txStyles>
    <p:titleStyle>
      <a:lvl1pPr algn="l" defTabSz="609612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3" indent="-152403" algn="l" defTabSz="60961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15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21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28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34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40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046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852" indent="-152403" algn="l" defTabSz="609612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06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12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18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24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30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36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643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449" algn="l" defTabSz="60961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BEF8F-947C-754A-451E-EF7EF6BBE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dirty="0"/>
              <a:t>PSP Use Cas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45E539-0BCA-C56D-FA8D-0B5DAA33A5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3C TPA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564C8C-094E-70B4-2125-02E5DAEB5A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eptember 12,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74FB8B-83DD-1BDC-3F62-5C4E7B9F3F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rant Peterson - FIS</a:t>
            </a:r>
          </a:p>
        </p:txBody>
      </p:sp>
    </p:spTree>
    <p:extLst>
      <p:ext uri="{BB962C8B-B14F-4D97-AF65-F5344CB8AC3E}">
        <p14:creationId xmlns:p14="http://schemas.microsoft.com/office/powerpoint/2010/main" val="356820059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0C5D59-B932-2E3B-0C57-B5A5559E6E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eal World </a:t>
            </a:r>
          </a:p>
          <a:p>
            <a:r>
              <a:rPr lang="en-US" dirty="0"/>
              <a:t>Problem Statement</a:t>
            </a:r>
          </a:p>
          <a:p>
            <a:r>
              <a:rPr lang="en-US" dirty="0"/>
              <a:t>for Merchants</a:t>
            </a:r>
          </a:p>
        </p:txBody>
      </p:sp>
    </p:spTree>
    <p:extLst>
      <p:ext uri="{BB962C8B-B14F-4D97-AF65-F5344CB8AC3E}">
        <p14:creationId xmlns:p14="http://schemas.microsoft.com/office/powerpoint/2010/main" val="12128438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C5B7-2AEF-5159-1064-763BAD33C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chant Sentiments Around Web Fi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A2ED75-CD35-DEF5-4CEF-B58F20B470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/>
              <a:t>Appreciate the need to for security and fraud prevention, however, comes at a cost as there are implications to shopper experience</a:t>
            </a:r>
          </a:p>
          <a:p>
            <a:r>
              <a:rPr lang="en-US" sz="2000" b="0" dirty="0"/>
              <a:t>No control over the experience, restricting the ability to serve their shoppers</a:t>
            </a:r>
          </a:p>
          <a:p>
            <a:r>
              <a:rPr lang="en-US" sz="2000" b="0" dirty="0"/>
              <a:t>Don’t have tools in place to support tokens – intelligent help consumers (non FPE capabilities limit and restriction troubleshooting)</a:t>
            </a:r>
          </a:p>
          <a:p>
            <a:r>
              <a:rPr lang="en-US" sz="2000" b="0" dirty="0"/>
              <a:t>Taking away data merchants legally allowed to have to interrogate, ability to route, use to lower fraud, lower payment costs, increase auth rate </a:t>
            </a:r>
          </a:p>
          <a:p>
            <a:r>
              <a:rPr lang="en-US" sz="2000" b="0" dirty="0"/>
              <a:t>May create resistance within merchant community</a:t>
            </a:r>
          </a:p>
          <a:p>
            <a:pPr marL="101611" indent="0">
              <a:spcBef>
                <a:spcPts val="0"/>
              </a:spcBef>
              <a:buNone/>
            </a:pP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3710543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F966A2-5B4B-03F2-72FA-C336B8235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agement Offer to W3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4430E2-8926-9B69-331B-D1B2A9B851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241" y="1643865"/>
            <a:ext cx="11257652" cy="4510874"/>
          </a:xfrm>
        </p:spPr>
        <p:txBody>
          <a:bodyPr/>
          <a:lstStyle/>
          <a:p>
            <a:r>
              <a:rPr lang="en-US" sz="2000" b="0" dirty="0"/>
              <a:t>FIS is a trusted name in innovation with merchant acquiring, card issuing, and checkout capabilities with global scale</a:t>
            </a:r>
          </a:p>
          <a:p>
            <a:r>
              <a:rPr lang="en-US" sz="2000" b="0" dirty="0"/>
              <a:t>How can FIS play a more active role within W3C?</a:t>
            </a:r>
          </a:p>
          <a:p>
            <a:r>
              <a:rPr lang="en-US" sz="2000" b="0" dirty="0"/>
              <a:t>FIS has development and business resources to assist with forming standards and proving out interoperable browser standards &amp; capabilities</a:t>
            </a:r>
          </a:p>
          <a:p>
            <a:r>
              <a:rPr lang="en-US" sz="2000" b="0" dirty="0"/>
              <a:t>Access to merchant, issuer, checkout community?</a:t>
            </a:r>
          </a:p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972978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1C6C7-04F6-AD26-C1E0-C52C4BF27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3247A4-917A-D483-32FE-654C7C218D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/>
              <a:t>About FIS Worldpay </a:t>
            </a:r>
          </a:p>
          <a:p>
            <a:r>
              <a:rPr lang="en-US" sz="2400" b="0" dirty="0"/>
              <a:t>Customer Personas &amp; Use Cases</a:t>
            </a:r>
          </a:p>
          <a:p>
            <a:r>
              <a:rPr lang="en-US" sz="2400" b="0" dirty="0"/>
              <a:t>PSP Problem Statements</a:t>
            </a:r>
          </a:p>
          <a:p>
            <a:r>
              <a:rPr lang="en-US" sz="2400" b="0" dirty="0"/>
              <a:t>Recommendations </a:t>
            </a:r>
          </a:p>
          <a:p>
            <a:r>
              <a:rPr lang="en-US" sz="2400" b="0" dirty="0"/>
              <a:t>Future Collaboration and Engagement </a:t>
            </a:r>
          </a:p>
        </p:txBody>
      </p:sp>
    </p:spTree>
    <p:extLst>
      <p:ext uri="{BB962C8B-B14F-4D97-AF65-F5344CB8AC3E}">
        <p14:creationId xmlns:p14="http://schemas.microsoft.com/office/powerpoint/2010/main" val="1267710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7237AE5D-4AFA-4F17-BACA-D145EC0F8209}"/>
              </a:ext>
            </a:extLst>
          </p:cNvPr>
          <p:cNvSpPr/>
          <p:nvPr/>
        </p:nvSpPr>
        <p:spPr>
          <a:xfrm>
            <a:off x="6822872" y="447262"/>
            <a:ext cx="4686841" cy="5754756"/>
          </a:xfrm>
          <a:prstGeom prst="rect">
            <a:avLst/>
          </a:prstGeom>
          <a:solidFill>
            <a:schemeClr val="tx1">
              <a:alpha val="46000"/>
            </a:schemeClr>
          </a:solidFill>
          <a:ln w="38100">
            <a:gradFill>
              <a:gsLst>
                <a:gs pos="100000">
                  <a:srgbClr val="0070C0"/>
                </a:gs>
                <a:gs pos="0">
                  <a:srgbClr val="009775"/>
                </a:gs>
              </a:gsLst>
              <a:lin ang="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49CE6837-7DF0-E145-BB2A-3B425817F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2F1B6E-495D-4223-B3BF-D290E1C4B9CE}" type="slidenum">
              <a:rPr lang="en-US" smtClean="0">
                <a:solidFill>
                  <a:schemeClr val="bg1"/>
                </a:solidFill>
              </a:rPr>
              <a:pPr/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2C85ED-89B0-4401-A6C8-1C6E74CF5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1" y="365125"/>
            <a:ext cx="4998834" cy="770467"/>
          </a:xfrm>
        </p:spPr>
        <p:txBody>
          <a:bodyPr/>
          <a:lstStyle/>
          <a:p>
            <a:pPr>
              <a:lnSpc>
                <a:spcPts val="2600"/>
              </a:lnSpc>
            </a:pPr>
            <a:r>
              <a:rPr lang="en-US" sz="2800" cap="none" dirty="0"/>
              <a:t>FIS</a:t>
            </a:r>
            <a:r>
              <a:rPr lang="en-US" cap="none" dirty="0"/>
              <a:t> </a:t>
            </a:r>
            <a:r>
              <a:rPr lang="en-US" sz="2800" cap="none" dirty="0"/>
              <a:t>MERCHANT SOLUTIONS</a:t>
            </a:r>
          </a:p>
        </p:txBody>
      </p:sp>
      <p:sp>
        <p:nvSpPr>
          <p:cNvPr id="27" name="Content Placeholder 1">
            <a:extLst>
              <a:ext uri="{FF2B5EF4-FFF2-40B4-BE49-F238E27FC236}">
                <a16:creationId xmlns:a16="http://schemas.microsoft.com/office/drawing/2014/main" id="{2D5497AD-7FB8-864A-8422-4EC61189D34C}"/>
              </a:ext>
            </a:extLst>
          </p:cNvPr>
          <p:cNvSpPr txBox="1">
            <a:spLocks/>
          </p:cNvSpPr>
          <p:nvPr/>
        </p:nvSpPr>
        <p:spPr>
          <a:xfrm>
            <a:off x="314736" y="1552362"/>
            <a:ext cx="5559289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sz="5400" b="1" i="0" kern="1200">
                <a:solidFill>
                  <a:schemeClr val="bg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341313" marR="0" indent="-1603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sz="16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457200" marR="0" indent="-952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80000"/>
              <a:buFont typeface="Symbol" panose="05050102010706020507" pitchFamily="18" charset="2"/>
              <a:buNone/>
              <a:tabLst/>
              <a:defRPr sz="1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627063" marR="0" indent="-179388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sz="11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6450" marR="0" indent="-179388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sz="11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60000" indent="-18000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228611">
              <a:lnSpc>
                <a:spcPct val="100000"/>
              </a:lnSpc>
              <a:defRPr/>
            </a:pPr>
            <a:r>
              <a:rPr lang="en-US" sz="2800" dirty="0">
                <a:gradFill>
                  <a:gsLst>
                    <a:gs pos="100000">
                      <a:srgbClr val="285BC5"/>
                    </a:gs>
                    <a:gs pos="0">
                      <a:srgbClr val="009775"/>
                    </a:gs>
                  </a:gsLst>
                  <a:lin ang="1800000" scaled="0"/>
                </a:gradFill>
                <a:latin typeface="Arial Black" panose="020B0A04020102020204" pitchFamily="34" charset="0"/>
                <a:cs typeface="Arial" panose="020B0604020202020204" pitchFamily="34" charset="0"/>
              </a:rPr>
              <a:t>Powering global commerc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02C4198-FCBF-834E-9DE1-831B3472D709}"/>
              </a:ext>
            </a:extLst>
          </p:cNvPr>
          <p:cNvSpPr txBox="1"/>
          <p:nvPr/>
        </p:nvSpPr>
        <p:spPr>
          <a:xfrm>
            <a:off x="7593507" y="5724503"/>
            <a:ext cx="3250896" cy="3277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28605">
              <a:lnSpc>
                <a:spcPct val="85000"/>
              </a:lnSpc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20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ring firm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4F4A0EB-9563-4E4C-A620-E250E508CDDC}"/>
              </a:ext>
            </a:extLst>
          </p:cNvPr>
          <p:cNvSpPr txBox="1"/>
          <p:nvPr/>
        </p:nvSpPr>
        <p:spPr>
          <a:xfrm>
            <a:off x="262658" y="3310963"/>
            <a:ext cx="1877437" cy="1107996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228605"/>
            <a:r>
              <a:rPr lang="en-US" sz="6600" b="1" dirty="0">
                <a:gradFill>
                  <a:gsLst>
                    <a:gs pos="100000">
                      <a:schemeClr val="accent6"/>
                    </a:gs>
                    <a:gs pos="0">
                      <a:srgbClr val="009775"/>
                    </a:gs>
                  </a:gsLst>
                  <a:lin ang="1800000" scaled="0"/>
                </a:gradFill>
                <a:latin typeface="Arial Black" panose="020B0A04020102020204" pitchFamily="34" charset="0"/>
                <a:cs typeface="Arial Black" panose="020B0604020202020204" pitchFamily="34" charset="0"/>
              </a:rPr>
              <a:t>30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668C895-673B-C44D-95FC-9F00B999977F}"/>
              </a:ext>
            </a:extLst>
          </p:cNvPr>
          <p:cNvSpPr txBox="1"/>
          <p:nvPr/>
        </p:nvSpPr>
        <p:spPr>
          <a:xfrm>
            <a:off x="262658" y="4042589"/>
            <a:ext cx="42899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5"/>
            <a:r>
              <a:rPr lang="en-US" sz="2800" dirty="0">
                <a:latin typeface="Arial Black" panose="020B0A04020102020204" pitchFamily="34" charset="0"/>
                <a:cs typeface="Arial" panose="020B0604020202020204" pitchFamily="34" charset="0"/>
              </a:rPr>
              <a:t>payment methods in: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3151DF-5083-5147-A150-F3D1FB1282BA}"/>
              </a:ext>
            </a:extLst>
          </p:cNvPr>
          <p:cNvSpPr txBox="1"/>
          <p:nvPr/>
        </p:nvSpPr>
        <p:spPr>
          <a:xfrm>
            <a:off x="262658" y="3073886"/>
            <a:ext cx="32011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5"/>
            <a:r>
              <a:rPr lang="en-US" sz="2800" dirty="0">
                <a:latin typeface="Arial Black" panose="020B0A04020102020204" pitchFamily="34" charset="0"/>
                <a:cs typeface="Arial" panose="020B0604020202020204" pitchFamily="34" charset="0"/>
              </a:rPr>
              <a:t>We accept ove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9634B63-8202-8743-B0DA-A045C7D0E602}"/>
              </a:ext>
            </a:extLst>
          </p:cNvPr>
          <p:cNvSpPr txBox="1"/>
          <p:nvPr/>
        </p:nvSpPr>
        <p:spPr>
          <a:xfrm>
            <a:off x="253432" y="4320036"/>
            <a:ext cx="1762021" cy="1107996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228605"/>
            <a:r>
              <a:rPr lang="en-US" sz="6600" b="1" spc="-300" dirty="0">
                <a:gradFill>
                  <a:gsLst>
                    <a:gs pos="100000">
                      <a:schemeClr val="accent6"/>
                    </a:gs>
                    <a:gs pos="0">
                      <a:srgbClr val="009775"/>
                    </a:gs>
                  </a:gsLst>
                  <a:lin ang="1800000" scaled="0"/>
                </a:gradFill>
                <a:latin typeface="Arial Black" panose="020B0604020202020204" pitchFamily="34" charset="0"/>
                <a:cs typeface="Arial Black" panose="020B0604020202020204" pitchFamily="34" charset="0"/>
              </a:rPr>
              <a:t>126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D07FBF7-B651-7946-BFD4-FFF73B04C491}"/>
              </a:ext>
            </a:extLst>
          </p:cNvPr>
          <p:cNvSpPr txBox="1"/>
          <p:nvPr/>
        </p:nvSpPr>
        <p:spPr>
          <a:xfrm>
            <a:off x="1870278" y="4741025"/>
            <a:ext cx="37362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5"/>
            <a:r>
              <a:rPr lang="en-US" sz="2800" dirty="0">
                <a:latin typeface="Arial Black" panose="020B0A04020102020204" pitchFamily="34" charset="0"/>
                <a:cs typeface="Arial" panose="020B0604020202020204" pitchFamily="34" charset="0"/>
              </a:rPr>
              <a:t>currencies acros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CDE2EFF-289C-4C45-A1D3-050BDEA0E34A}"/>
              </a:ext>
            </a:extLst>
          </p:cNvPr>
          <p:cNvSpPr txBox="1"/>
          <p:nvPr/>
        </p:nvSpPr>
        <p:spPr>
          <a:xfrm>
            <a:off x="253431" y="5042819"/>
            <a:ext cx="1762021" cy="1107996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228605"/>
            <a:r>
              <a:rPr lang="en-US" sz="6600" b="1" spc="-300" dirty="0">
                <a:gradFill>
                  <a:gsLst>
                    <a:gs pos="100000">
                      <a:schemeClr val="accent6"/>
                    </a:gs>
                    <a:gs pos="0">
                      <a:srgbClr val="009775"/>
                    </a:gs>
                  </a:gsLst>
                  <a:lin ang="1800000" scaled="0"/>
                </a:gradFill>
                <a:latin typeface="Arial Black" panose="020B0604020202020204" pitchFamily="34" charset="0"/>
                <a:cs typeface="Arial Black" panose="020B0604020202020204" pitchFamily="34" charset="0"/>
              </a:rPr>
              <a:t>146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2BB67C-6E99-9247-8D94-CA64D9916FD9}"/>
              </a:ext>
            </a:extLst>
          </p:cNvPr>
          <p:cNvSpPr txBox="1"/>
          <p:nvPr/>
        </p:nvSpPr>
        <p:spPr>
          <a:xfrm>
            <a:off x="1890165" y="5468216"/>
            <a:ext cx="20361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5"/>
            <a:r>
              <a:rPr lang="en-US" sz="2800" dirty="0">
                <a:latin typeface="Arial Black" panose="020B0A04020102020204" pitchFamily="34" charset="0"/>
                <a:cs typeface="Arial" panose="020B0604020202020204" pitchFamily="34" charset="0"/>
              </a:rPr>
              <a:t>countri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E21A39C-9C98-47FD-857B-8D7C707B26BF}"/>
              </a:ext>
            </a:extLst>
          </p:cNvPr>
          <p:cNvGrpSpPr/>
          <p:nvPr/>
        </p:nvGrpSpPr>
        <p:grpSpPr>
          <a:xfrm>
            <a:off x="7099990" y="521372"/>
            <a:ext cx="4653961" cy="1323439"/>
            <a:chOff x="7099990" y="521372"/>
            <a:chExt cx="4653961" cy="1323439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9480602-2167-F345-9EF8-481159B85839}"/>
                </a:ext>
              </a:extLst>
            </p:cNvPr>
            <p:cNvSpPr txBox="1"/>
            <p:nvPr/>
          </p:nvSpPr>
          <p:spPr>
            <a:xfrm>
              <a:off x="7099990" y="521372"/>
              <a:ext cx="2186817" cy="1323439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228605"/>
              <a:r>
                <a:rPr lang="en-US" sz="8000" b="1" spc="-300" baseline="30000" dirty="0">
                  <a:solidFill>
                    <a:srgbClr val="009775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+</a:t>
              </a:r>
              <a:r>
                <a:rPr lang="en-US" sz="8000" b="1" spc="-300" dirty="0">
                  <a:solidFill>
                    <a:srgbClr val="009775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1M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E1D9C9B-C61A-9949-8C2A-CE59ABD37D90}"/>
                </a:ext>
              </a:extLst>
            </p:cNvPr>
            <p:cNvSpPr txBox="1"/>
            <p:nvPr/>
          </p:nvSpPr>
          <p:spPr>
            <a:xfrm>
              <a:off x="9157869" y="882286"/>
              <a:ext cx="2596082" cy="77046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228605">
                <a:lnSpc>
                  <a:spcPts val="2600"/>
                </a:lnSpc>
              </a:pPr>
              <a:r>
                <a:rPr lang="en-US" sz="2800" b="1" dirty="0">
                  <a:gradFill>
                    <a:gsLst>
                      <a:gs pos="100000">
                        <a:srgbClr val="0070C0"/>
                      </a:gs>
                      <a:gs pos="0">
                        <a:srgbClr val="009775"/>
                      </a:gs>
                    </a:gsLst>
                    <a:lin ang="0" scaled="0"/>
                  </a:gradFill>
                  <a:latin typeface="Arial Black" panose="020B0A04020102020204" pitchFamily="34" charset="0"/>
                  <a:cs typeface="Arial" panose="020B0604020202020204" pitchFamily="34" charset="0"/>
                </a:rPr>
                <a:t>Merchant Locations</a:t>
              </a:r>
            </a:p>
          </p:txBody>
        </p: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ED6FA442-2DEE-0A4A-B1A1-A00D0895B700}"/>
              </a:ext>
            </a:extLst>
          </p:cNvPr>
          <p:cNvSpPr txBox="1"/>
          <p:nvPr/>
        </p:nvSpPr>
        <p:spPr>
          <a:xfrm>
            <a:off x="7479895" y="1567577"/>
            <a:ext cx="3478121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28605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ing for </a:t>
            </a:r>
            <a:r>
              <a:rPr lang="en-GB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of the Top 10 </a:t>
            </a:r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st merchants globally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C9CEC04-69EE-B04A-AE5D-3E571F0B5951}"/>
              </a:ext>
            </a:extLst>
          </p:cNvPr>
          <p:cNvSpPr txBox="1"/>
          <p:nvPr/>
        </p:nvSpPr>
        <p:spPr>
          <a:xfrm>
            <a:off x="7789873" y="2590187"/>
            <a:ext cx="2858164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28605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es we serve:</a:t>
            </a:r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3C4BEAB4-D292-6C49-9943-C6AEB61ED883}"/>
              </a:ext>
            </a:extLst>
          </p:cNvPr>
          <p:cNvSpPr>
            <a:spLocks/>
          </p:cNvSpPr>
          <p:nvPr/>
        </p:nvSpPr>
        <p:spPr>
          <a:xfrm>
            <a:off x="7059778" y="3073886"/>
            <a:ext cx="1371600" cy="1188720"/>
          </a:xfrm>
          <a:prstGeom prst="hexagon">
            <a:avLst/>
          </a:prstGeom>
          <a:noFill/>
          <a:ln w="38100">
            <a:gradFill>
              <a:gsLst>
                <a:gs pos="0">
                  <a:srgbClr val="009775"/>
                </a:gs>
                <a:gs pos="100000">
                  <a:srgbClr val="285BC5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85" name="Hexagon 84">
            <a:extLst>
              <a:ext uri="{FF2B5EF4-FFF2-40B4-BE49-F238E27FC236}">
                <a16:creationId xmlns:a16="http://schemas.microsoft.com/office/drawing/2014/main" id="{DB4A8FD3-3209-8647-A6D3-7F900F46A98D}"/>
              </a:ext>
            </a:extLst>
          </p:cNvPr>
          <p:cNvSpPr>
            <a:spLocks/>
          </p:cNvSpPr>
          <p:nvPr/>
        </p:nvSpPr>
        <p:spPr>
          <a:xfrm>
            <a:off x="8505038" y="3073886"/>
            <a:ext cx="1371600" cy="1188720"/>
          </a:xfrm>
          <a:prstGeom prst="hexagon">
            <a:avLst/>
          </a:prstGeom>
          <a:noFill/>
          <a:ln w="38100">
            <a:gradFill>
              <a:gsLst>
                <a:gs pos="0">
                  <a:srgbClr val="009775"/>
                </a:gs>
                <a:gs pos="100000">
                  <a:srgbClr val="285BC5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IGITAL</a:t>
            </a:r>
          </a:p>
        </p:txBody>
      </p:sp>
      <p:sp>
        <p:nvSpPr>
          <p:cNvPr id="86" name="Hexagon 85">
            <a:extLst>
              <a:ext uri="{FF2B5EF4-FFF2-40B4-BE49-F238E27FC236}">
                <a16:creationId xmlns:a16="http://schemas.microsoft.com/office/drawing/2014/main" id="{C2AEAAD1-9338-FE4A-971D-CDCD6B139391}"/>
              </a:ext>
            </a:extLst>
          </p:cNvPr>
          <p:cNvSpPr>
            <a:spLocks/>
          </p:cNvSpPr>
          <p:nvPr/>
        </p:nvSpPr>
        <p:spPr>
          <a:xfrm>
            <a:off x="9950298" y="3073886"/>
            <a:ext cx="1371600" cy="1188720"/>
          </a:xfrm>
          <a:prstGeom prst="hexagon">
            <a:avLst/>
          </a:prstGeom>
          <a:noFill/>
          <a:ln w="38100">
            <a:gradFill>
              <a:gsLst>
                <a:gs pos="0">
                  <a:srgbClr val="009775"/>
                </a:gs>
                <a:gs pos="100000">
                  <a:srgbClr val="285BC5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IRLINES</a:t>
            </a:r>
          </a:p>
        </p:txBody>
      </p:sp>
      <p:sp>
        <p:nvSpPr>
          <p:cNvPr id="87" name="Hexagon 86">
            <a:extLst>
              <a:ext uri="{FF2B5EF4-FFF2-40B4-BE49-F238E27FC236}">
                <a16:creationId xmlns:a16="http://schemas.microsoft.com/office/drawing/2014/main" id="{8F07A5C4-69A8-1C45-A06D-993EBBADF9C4}"/>
              </a:ext>
            </a:extLst>
          </p:cNvPr>
          <p:cNvSpPr>
            <a:spLocks/>
          </p:cNvSpPr>
          <p:nvPr/>
        </p:nvSpPr>
        <p:spPr>
          <a:xfrm>
            <a:off x="7059778" y="4386050"/>
            <a:ext cx="1371600" cy="1188720"/>
          </a:xfrm>
          <a:prstGeom prst="hexagon">
            <a:avLst/>
          </a:prstGeom>
          <a:noFill/>
          <a:ln w="38100">
            <a:gradFill>
              <a:gsLst>
                <a:gs pos="0">
                  <a:srgbClr val="009775"/>
                </a:gs>
                <a:gs pos="100000">
                  <a:srgbClr val="285BC5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GAMING</a:t>
            </a:r>
          </a:p>
        </p:txBody>
      </p:sp>
      <p:sp>
        <p:nvSpPr>
          <p:cNvPr id="88" name="Hexagon 87">
            <a:extLst>
              <a:ext uri="{FF2B5EF4-FFF2-40B4-BE49-F238E27FC236}">
                <a16:creationId xmlns:a16="http://schemas.microsoft.com/office/drawing/2014/main" id="{43CD3668-6F5A-C844-A7DB-41033D9F9C9D}"/>
              </a:ext>
            </a:extLst>
          </p:cNvPr>
          <p:cNvSpPr>
            <a:spLocks/>
          </p:cNvSpPr>
          <p:nvPr/>
        </p:nvSpPr>
        <p:spPr>
          <a:xfrm>
            <a:off x="8505038" y="4386050"/>
            <a:ext cx="1371600" cy="1188720"/>
          </a:xfrm>
          <a:prstGeom prst="hexagon">
            <a:avLst/>
          </a:prstGeom>
          <a:noFill/>
          <a:ln w="38100">
            <a:gradFill>
              <a:gsLst>
                <a:gs pos="0">
                  <a:srgbClr val="009775"/>
                </a:gs>
                <a:gs pos="100000">
                  <a:srgbClr val="285BC5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RAVEL</a:t>
            </a:r>
          </a:p>
        </p:txBody>
      </p:sp>
      <p:sp>
        <p:nvSpPr>
          <p:cNvPr id="89" name="Hexagon 88">
            <a:extLst>
              <a:ext uri="{FF2B5EF4-FFF2-40B4-BE49-F238E27FC236}">
                <a16:creationId xmlns:a16="http://schemas.microsoft.com/office/drawing/2014/main" id="{A5CEA970-DA25-FD48-8010-8A4696112FEF}"/>
              </a:ext>
            </a:extLst>
          </p:cNvPr>
          <p:cNvSpPr>
            <a:spLocks/>
          </p:cNvSpPr>
          <p:nvPr/>
        </p:nvSpPr>
        <p:spPr>
          <a:xfrm>
            <a:off x="9950298" y="4386050"/>
            <a:ext cx="1371600" cy="1188720"/>
          </a:xfrm>
          <a:prstGeom prst="hexagon">
            <a:avLst/>
          </a:prstGeom>
          <a:noFill/>
          <a:ln w="38100">
            <a:gradFill>
              <a:gsLst>
                <a:gs pos="0">
                  <a:srgbClr val="009775"/>
                </a:gs>
                <a:gs pos="100000">
                  <a:srgbClr val="285BC5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FINANCIA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D72ED38-358D-4F07-A32F-043708F0B09F}"/>
              </a:ext>
            </a:extLst>
          </p:cNvPr>
          <p:cNvSpPr txBox="1"/>
          <p:nvPr/>
        </p:nvSpPr>
        <p:spPr>
          <a:xfrm>
            <a:off x="1447856" y="2007084"/>
            <a:ext cx="316390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en-US" sz="1800" b="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GLOBAL</a:t>
            </a:r>
            <a:br>
              <a:rPr lang="en-US" sz="1800" b="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US" sz="1800" b="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MERCHANT</a:t>
            </a:r>
            <a:br>
              <a:rPr lang="en-US" sz="1800" b="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US" sz="1800" b="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CQUIRER</a:t>
            </a:r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08422C6-0CAB-4EC7-B03A-E5255DA3F604}"/>
              </a:ext>
            </a:extLst>
          </p:cNvPr>
          <p:cNvSpPr txBox="1"/>
          <p:nvPr/>
        </p:nvSpPr>
        <p:spPr>
          <a:xfrm>
            <a:off x="262658" y="1783256"/>
            <a:ext cx="160762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28611">
              <a:lnSpc>
                <a:spcPct val="100000"/>
              </a:lnSpc>
              <a:defRPr/>
            </a:pPr>
            <a:r>
              <a:rPr lang="en-US" sz="8000" spc="-300" baseline="30000" dirty="0">
                <a:gradFill>
                  <a:gsLst>
                    <a:gs pos="100000">
                      <a:srgbClr val="285BC5"/>
                    </a:gs>
                    <a:gs pos="0">
                      <a:srgbClr val="009775"/>
                    </a:gs>
                  </a:gsLst>
                  <a:lin ang="1800000" scaled="0"/>
                </a:gradFill>
                <a:latin typeface="Arial Black" panose="020B0A04020102020204" pitchFamily="34" charset="0"/>
                <a:cs typeface="Arial" panose="020B0604020202020204" pitchFamily="34" charset="0"/>
              </a:rPr>
              <a:t>#</a:t>
            </a:r>
            <a:r>
              <a:rPr lang="en-US" sz="8000" spc="-300" dirty="0">
                <a:gradFill>
                  <a:gsLst>
                    <a:gs pos="100000">
                      <a:srgbClr val="285BC5"/>
                    </a:gs>
                    <a:gs pos="0">
                      <a:srgbClr val="009775"/>
                    </a:gs>
                  </a:gsLst>
                  <a:lin ang="1800000" scaled="0"/>
                </a:gra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  <a:endParaRPr lang="en-US" sz="8000" b="0" spc="-300" dirty="0">
              <a:gradFill>
                <a:gsLst>
                  <a:gs pos="100000">
                    <a:srgbClr val="285BC5"/>
                  </a:gs>
                  <a:gs pos="0">
                    <a:srgbClr val="009775"/>
                  </a:gs>
                </a:gsLst>
                <a:lin ang="1800000" scaled="0"/>
              </a:gra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13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01B82F6-CF2D-F933-2A2A-9271FBF6B3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celerates Frictionless Checkout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C1E709-D6E7-54D6-4888-A97DBB904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oCart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B5FAAE-F6A6-D025-B819-30C8C05F283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0702" y="1833034"/>
            <a:ext cx="8299448" cy="4461882"/>
          </a:xfrm>
        </p:spPr>
        <p:txBody>
          <a:bodyPr>
            <a:normAutofit/>
          </a:bodyPr>
          <a:lstStyle/>
          <a:p>
            <a:pPr marL="241289" indent="-241289" defTabSz="1219140">
              <a:spcBef>
                <a:spcPts val="1600"/>
              </a:spcBef>
              <a:buFont typeface="Calibri" panose="020F0502020204030204" pitchFamily="34" charset="0"/>
              <a:buChar char="•"/>
            </a:pPr>
            <a:r>
              <a:rPr lang="en-US" sz="2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merchants access to growing network of shoppers using wallet and checkout solution deeply integrated into FIS’ merchant processing platform. </a:t>
            </a:r>
          </a:p>
          <a:p>
            <a:pPr marL="241289" indent="-241289" defTabSz="1219140">
              <a:spcBef>
                <a:spcPts val="1600"/>
              </a:spcBef>
              <a:buFont typeface="Calibri" panose="020F0502020204030204" pitchFamily="34" charset="0"/>
              <a:buChar char="•"/>
            </a:pPr>
            <a:r>
              <a:rPr lang="en-US" sz="2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 to accelerate progress in the frictionless checkout space, modernizing digital checkout experience for consumers</a:t>
            </a:r>
          </a:p>
          <a:p>
            <a:pPr marL="241289" indent="-241289" defTabSz="1219140">
              <a:spcBef>
                <a:spcPts val="1600"/>
              </a:spcBef>
              <a:buFont typeface="Calibri" panose="020F0502020204030204" pitchFamily="34" charset="0"/>
              <a:buChar char="•"/>
            </a:pPr>
            <a:r>
              <a:rPr lang="en-US" sz="2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ed with large US issuers to create a network of millions of consumers. </a:t>
            </a:r>
          </a:p>
          <a:p>
            <a:pPr marL="241289" indent="-241289" defTabSz="1219140">
              <a:spcBef>
                <a:spcPts val="1600"/>
              </a:spcBef>
              <a:buFont typeface="Calibri" panose="020F0502020204030204" pitchFamily="34" charset="0"/>
              <a:buChar char="•"/>
            </a:pPr>
            <a:r>
              <a:rPr lang="en-US" sz="2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s ability for merchants to deliver “shoppable” marketing emails and advertisements which further strengthen FIS’ ability to drive value for our merchants.</a:t>
            </a: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F9578270-C4FA-5B1E-D12B-6136420DF6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0070" y="2695426"/>
            <a:ext cx="2834710" cy="199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402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0C5D59-B932-2E3B-0C57-B5A5559E6E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ustomer Personas </a:t>
            </a:r>
          </a:p>
          <a:p>
            <a:r>
              <a:rPr lang="en-US" dirty="0"/>
              <a:t>&amp; Use Cases</a:t>
            </a:r>
          </a:p>
        </p:txBody>
      </p:sp>
    </p:spTree>
    <p:extLst>
      <p:ext uri="{BB962C8B-B14F-4D97-AF65-F5344CB8AC3E}">
        <p14:creationId xmlns:p14="http://schemas.microsoft.com/office/powerpoint/2010/main" val="6301385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A1CD8A-677B-33E1-6ED0-840BB18916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ost Pandemic Reinvento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6C4AA2-2A47-4B8D-82C3-1D052D6B4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ustomer Perso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DF057F-B55D-4C98-83F0-550A1F7AE6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70"/>
            <a:fld id="{C60C2248-B95D-984B-A0F4-42B9A4652AA7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pPr defTabSz="1219170"/>
              <a:t>6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02EF651-E767-A5BD-70E7-4C6BC10E6F8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0703" y="1833034"/>
            <a:ext cx="7620407" cy="4334407"/>
          </a:xfrm>
        </p:spPr>
        <p:txBody>
          <a:bodyPr>
            <a:normAutofit fontScale="92500"/>
          </a:bodyPr>
          <a:lstStyle/>
          <a:p>
            <a:r>
              <a:rPr lang="en-US" b="0" dirty="0"/>
              <a:t>Enterprise retailers with storefront transforming their ecommerce platform to how customers are now shopping – online, through an app.</a:t>
            </a:r>
          </a:p>
          <a:p>
            <a:r>
              <a:rPr lang="en-US" b="0" dirty="0"/>
              <a:t>Shifting to digital first strategy, building digital experiences to keep customers returning to their sites and storefronts. </a:t>
            </a:r>
          </a:p>
          <a:p>
            <a:r>
              <a:rPr lang="en-US" b="0" dirty="0"/>
              <a:t>Leveraging existing loyalty programs as foundation to enhance shopper experience such as new ways to pay. </a:t>
            </a:r>
          </a:p>
          <a:p>
            <a:r>
              <a:rPr lang="en-US" b="0" dirty="0"/>
              <a:t>Identifying their shoppers through browser level data to offer shoppers experience at time of checkout</a:t>
            </a:r>
          </a:p>
          <a:p>
            <a:r>
              <a:rPr lang="en-US" b="0" dirty="0"/>
              <a:t>Focused on expanded product offerings like </a:t>
            </a:r>
            <a:r>
              <a:rPr lang="en-US" dirty="0">
                <a:solidFill>
                  <a:schemeClr val="accent1"/>
                </a:solidFill>
              </a:rPr>
              <a:t>subscription services</a:t>
            </a:r>
          </a:p>
          <a:p>
            <a:r>
              <a:rPr lang="en-US" b="0" dirty="0"/>
              <a:t>Have different PSPs across card present and CNP processing channels, creating friction with identifying their shoppers across processing platforms and payment acceptance channels. </a:t>
            </a:r>
          </a:p>
          <a:p>
            <a:endParaRPr lang="en-US" sz="2000" dirty="0">
              <a:latin typeface="Georgia" panose="02040502050405020303" pitchFamily="18" charset="0"/>
            </a:endParaRPr>
          </a:p>
          <a:p>
            <a:endParaRPr lang="en-US" sz="2000" dirty="0">
              <a:latin typeface="Georgia" panose="02040502050405020303" pitchFamily="18" charset="0"/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2" descr="D:\Ant March work\624351 - Power your Payments_PPT_Concept\images\whitee-logoo.png">
            <a:extLst>
              <a:ext uri="{FF2B5EF4-FFF2-40B4-BE49-F238E27FC236}">
                <a16:creationId xmlns:a16="http://schemas.microsoft.com/office/drawing/2014/main" id="{27F26744-D4A9-47E5-A134-D16180A21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048" y="6172200"/>
            <a:ext cx="1258008" cy="390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0A7E75-8294-DA3F-A78D-CA825A46A6B2}"/>
              </a:ext>
            </a:extLst>
          </p:cNvPr>
          <p:cNvSpPr txBox="1"/>
          <p:nvPr/>
        </p:nvSpPr>
        <p:spPr>
          <a:xfrm>
            <a:off x="8810625" y="1733724"/>
            <a:ext cx="305515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1" dirty="0"/>
              <a:t>We are focused on building a </a:t>
            </a:r>
            <a:r>
              <a:rPr lang="en-US" b="1" i="1" dirty="0">
                <a:solidFill>
                  <a:schemeClr val="accent1"/>
                </a:solidFill>
              </a:rPr>
              <a:t>digital-first</a:t>
            </a:r>
            <a:r>
              <a:rPr lang="en-US" b="0" i="1" dirty="0"/>
              <a:t>, omnichannel model that delivers a best-in-class </a:t>
            </a:r>
            <a:r>
              <a:rPr lang="en-US" b="1" i="1" dirty="0">
                <a:solidFill>
                  <a:schemeClr val="accent1"/>
                </a:solidFill>
              </a:rPr>
              <a:t>eCommerce experience</a:t>
            </a:r>
            <a:r>
              <a:rPr lang="en-US" b="0" i="1" dirty="0"/>
              <a:t>, including the most comprehensive set  products wherever and however customers want to shop.”</a:t>
            </a:r>
          </a:p>
        </p:txBody>
      </p:sp>
    </p:spTree>
    <p:extLst>
      <p:ext uri="{BB962C8B-B14F-4D97-AF65-F5344CB8AC3E}">
        <p14:creationId xmlns:p14="http://schemas.microsoft.com/office/powerpoint/2010/main" val="616691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E2FC5-6B4E-0F08-AE5B-114E542EDD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eamless Shopper Experienc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E670F6-F7D5-5713-B1AA-B490CE842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Person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D3445-24B1-1223-52C2-2F1BF440C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0702" y="1833034"/>
            <a:ext cx="6967218" cy="4334407"/>
          </a:xfrm>
        </p:spPr>
        <p:txBody>
          <a:bodyPr>
            <a:normAutofit/>
          </a:bodyPr>
          <a:lstStyle/>
          <a:p>
            <a:r>
              <a:rPr lang="en-GB" sz="2000" b="0" dirty="0"/>
              <a:t>Seek seamless and personalized checkout experiences for their shoppers to increase payment conversion </a:t>
            </a:r>
            <a:r>
              <a:rPr lang="en-US" sz="2000" b="0" dirty="0"/>
              <a:t>and avoid risk like cart abandonment</a:t>
            </a:r>
          </a:p>
          <a:p>
            <a:r>
              <a:rPr lang="en-US" sz="2000" b="0" dirty="0"/>
              <a:t>Identifying who their shopper are to drive experience is key to personalize, so capture and store account data for ease of purchase (web fill)</a:t>
            </a:r>
          </a:p>
          <a:p>
            <a:r>
              <a:rPr lang="en-US" sz="2000" b="0" dirty="0"/>
              <a:t>Use data (public/private) that create insights to relevant payment options to the shopper </a:t>
            </a:r>
          </a:p>
          <a:p>
            <a:r>
              <a:rPr lang="en-GB" sz="2000" b="0" dirty="0"/>
              <a:t>Personalization like one-click payments</a:t>
            </a:r>
            <a:endParaRPr lang="en-US" sz="2000" b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39CB37-C51C-FB1B-586A-F36D93E33D8C}"/>
              </a:ext>
            </a:extLst>
          </p:cNvPr>
          <p:cNvSpPr txBox="1"/>
          <p:nvPr/>
        </p:nvSpPr>
        <p:spPr>
          <a:xfrm>
            <a:off x="7622795" y="1474271"/>
            <a:ext cx="4345827" cy="3846433"/>
          </a:xfrm>
          <a:prstGeom prst="roundRect">
            <a:avLst>
              <a:gd name="adj" fmla="val 12906"/>
            </a:avLst>
          </a:prstGeom>
          <a:noFill/>
          <a:ln>
            <a:noFill/>
          </a:ln>
        </p:spPr>
        <p:txBody>
          <a:bodyPr wrap="square" lIns="121920" tIns="60960" rIns="121920" bIns="6096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cs typeface="Arial"/>
              </a:rPr>
              <a:t>Want offer </a:t>
            </a:r>
            <a:r>
              <a:rPr lang="en-GB" sz="1600" b="1" dirty="0">
                <a:solidFill>
                  <a:schemeClr val="accent1"/>
                </a:solidFill>
                <a:cs typeface="Arial"/>
              </a:rPr>
              <a:t>personalized</a:t>
            </a:r>
            <a:r>
              <a:rPr lang="en-GB" sz="1600" b="1" dirty="0">
                <a:solidFill>
                  <a:schemeClr val="accent5"/>
                </a:solidFill>
                <a:cs typeface="Arial"/>
              </a:rPr>
              <a:t> </a:t>
            </a:r>
            <a:r>
              <a:rPr lang="en-GB" sz="1600" b="1" dirty="0">
                <a:solidFill>
                  <a:schemeClr val="accent1"/>
                </a:solidFill>
                <a:cs typeface="Arial"/>
              </a:rPr>
              <a:t>experience</a:t>
            </a:r>
            <a:r>
              <a:rPr lang="en-GB" sz="1600" dirty="0">
                <a:cs typeface="Arial"/>
              </a:rPr>
              <a:t> for their shoppers to </a:t>
            </a:r>
            <a:r>
              <a:rPr lang="en-GB" sz="1600" b="1" dirty="0">
                <a:solidFill>
                  <a:schemeClr val="accent1"/>
                </a:solidFill>
                <a:ea typeface="+mn-lt"/>
                <a:cs typeface="+mn-lt"/>
              </a:rPr>
              <a:t>increase sal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1600" dirty="0"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cs typeface="Arial"/>
              </a:rPr>
              <a:t>Want support for </a:t>
            </a:r>
            <a:r>
              <a:rPr lang="en-GB" sz="1600" dirty="0">
                <a:solidFill>
                  <a:schemeClr val="accent5"/>
                </a:solidFill>
                <a:cs typeface="Arial"/>
              </a:rPr>
              <a:t> </a:t>
            </a:r>
            <a:r>
              <a:rPr lang="en-GB" sz="1600" b="1" dirty="0">
                <a:solidFill>
                  <a:schemeClr val="accent1"/>
                </a:solidFill>
                <a:cs typeface="Arial"/>
              </a:rPr>
              <a:t>PCI DSS Compliance</a:t>
            </a:r>
            <a:r>
              <a:rPr lang="en-GB" sz="1600" dirty="0">
                <a:solidFill>
                  <a:schemeClr val="accent1"/>
                </a:solidFill>
                <a:cs typeface="Arial"/>
              </a:rPr>
              <a:t> </a:t>
            </a:r>
            <a:r>
              <a:rPr lang="en-GB" sz="1600" dirty="0">
                <a:cs typeface="Arial"/>
              </a:rPr>
              <a:t>to minimise risk to sensitive payment dat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b="1" dirty="0">
                <a:solidFill>
                  <a:schemeClr val="accent1"/>
                </a:solidFill>
              </a:rPr>
              <a:t>Latest payment opt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1600" dirty="0">
              <a:ea typeface="+mn-lt"/>
              <a:cs typeface="+mn-lt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b="1" dirty="0">
                <a:solidFill>
                  <a:schemeClr val="accent1"/>
                </a:solidFill>
                <a:ea typeface="+mn-lt"/>
                <a:cs typeface="+mn-lt"/>
              </a:rPr>
              <a:t>Quick and simple integrat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1600" b="1" dirty="0">
              <a:solidFill>
                <a:schemeClr val="accent1"/>
              </a:solidFill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b="1" dirty="0">
                <a:solidFill>
                  <a:schemeClr val="accent1"/>
                </a:solidFill>
                <a:cs typeface="Arial"/>
              </a:rPr>
              <a:t>Speed to market </a:t>
            </a:r>
            <a:r>
              <a:rPr lang="en-GB" sz="1600" dirty="0">
                <a:cs typeface="Arial"/>
              </a:rPr>
              <a:t>for new developments</a:t>
            </a:r>
            <a:endParaRPr lang="en-GB" sz="1600" b="1" dirty="0">
              <a:solidFill>
                <a:schemeClr val="accent1"/>
              </a:solidFill>
              <a:ea typeface="+mn-lt"/>
              <a:cs typeface="Arial"/>
            </a:endParaRPr>
          </a:p>
          <a:p>
            <a:endParaRPr lang="en-GB" sz="1600" dirty="0">
              <a:ea typeface="+mn-lt"/>
              <a:cs typeface="+mn-lt"/>
            </a:endParaRPr>
          </a:p>
        </p:txBody>
      </p:sp>
      <p:pic>
        <p:nvPicPr>
          <p:cNvPr id="6" name="Picture 6" descr="Icon&#10;&#10;Description automatically generated">
            <a:extLst>
              <a:ext uri="{FF2B5EF4-FFF2-40B4-BE49-F238E27FC236}">
                <a16:creationId xmlns:a16="http://schemas.microsoft.com/office/drawing/2014/main" id="{F4B226F2-EF14-7BC1-9B30-3514ECC1A17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873920" y="5585975"/>
            <a:ext cx="932545" cy="87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420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E2FC5-6B4E-0F08-AE5B-114E542EDD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assion for Control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E670F6-F7D5-5713-B1AA-B490CE842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Person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D3445-24B1-1223-52C2-2F1BF440C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0703" y="1833034"/>
            <a:ext cx="8328022" cy="4334407"/>
          </a:xfrm>
        </p:spPr>
        <p:txBody>
          <a:bodyPr>
            <a:normAutofit fontScale="92500" lnSpcReduction="10000"/>
          </a:bodyPr>
          <a:lstStyle/>
          <a:p>
            <a:r>
              <a:rPr lang="en-US" sz="1600" b="0" dirty="0"/>
              <a:t>Enterprise organizations with a passion for increasing lifetime customer value </a:t>
            </a:r>
          </a:p>
          <a:p>
            <a:pPr lvl="1"/>
            <a:r>
              <a:rPr lang="en-US" dirty="0"/>
              <a:t>WP has 16% of all ecommerce market share from these top 15-retailers</a:t>
            </a:r>
          </a:p>
          <a:p>
            <a:r>
              <a:rPr lang="en-US" sz="1600" b="0" dirty="0"/>
              <a:t>Experienced, well staffed, and been investing in created personalized experiences for their shoppers</a:t>
            </a:r>
          </a:p>
          <a:p>
            <a:r>
              <a:rPr lang="en-US" sz="1600" b="0" dirty="0"/>
              <a:t>Desire to maintain control over ubiquitous experiences to serve their shoppers</a:t>
            </a:r>
          </a:p>
          <a:p>
            <a:r>
              <a:rPr lang="en-US" sz="1600" b="0" dirty="0"/>
              <a:t>Consistency limits their design experience they heavily invest in as they lose feature functionality capabilities contra to business goals </a:t>
            </a:r>
          </a:p>
          <a:p>
            <a:r>
              <a:rPr lang="en-US" sz="1600" b="0" dirty="0"/>
              <a:t>They feel know their shoppers better than anyone, and want optionality to do so</a:t>
            </a:r>
          </a:p>
          <a:p>
            <a:pPr lvl="1"/>
            <a:r>
              <a:rPr lang="en-US" dirty="0"/>
              <a:t>Payment tender strategy – want choice in what to present (card and payment strategy) is it co-branded, are they EBT </a:t>
            </a:r>
          </a:p>
          <a:p>
            <a:r>
              <a:rPr lang="en-US" sz="1600" b="0" dirty="0"/>
              <a:t>Need control in smart routing to low-cost providers and/or alternative debit networks</a:t>
            </a:r>
          </a:p>
          <a:p>
            <a:r>
              <a:rPr lang="en-US" sz="1600" b="0" dirty="0"/>
              <a:t>Implement Retry and fallback strategies based on decline transaction to recover sales – believe in high auth rate is better than cost savings….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D7FCC3-ACC3-FAB7-FC5F-2E048A4E5954}"/>
              </a:ext>
            </a:extLst>
          </p:cNvPr>
          <p:cNvSpPr txBox="1"/>
          <p:nvPr/>
        </p:nvSpPr>
        <p:spPr>
          <a:xfrm>
            <a:off x="8848725" y="1671733"/>
            <a:ext cx="31337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chemeClr val="accent1"/>
                </a:solidFill>
                <a:cs typeface="Arial"/>
              </a:rPr>
              <a:t>Increased</a:t>
            </a:r>
            <a:r>
              <a:rPr lang="en-GB" sz="1600" dirty="0">
                <a:solidFill>
                  <a:schemeClr val="accent1"/>
                </a:solidFill>
                <a:cs typeface="Arial"/>
              </a:rPr>
              <a:t> </a:t>
            </a:r>
            <a:r>
              <a:rPr lang="en-GB" sz="1600" b="1" dirty="0">
                <a:solidFill>
                  <a:schemeClr val="accent1"/>
                </a:solidFill>
                <a:cs typeface="Arial"/>
              </a:rPr>
              <a:t>flexibility</a:t>
            </a:r>
            <a:r>
              <a:rPr lang="en-GB" sz="1600" b="1" dirty="0">
                <a:solidFill>
                  <a:schemeClr val="accent1"/>
                </a:solidFill>
                <a:ea typeface="+mn-lt"/>
                <a:cs typeface="+mn-lt"/>
              </a:rPr>
              <a:t> </a:t>
            </a:r>
            <a:r>
              <a:rPr lang="en-GB" sz="1600" dirty="0">
                <a:ea typeface="+mn-lt"/>
                <a:cs typeface="+mn-lt"/>
              </a:rPr>
              <a:t>and </a:t>
            </a:r>
            <a:r>
              <a:rPr lang="en-GB" sz="1600" b="1" dirty="0">
                <a:solidFill>
                  <a:schemeClr val="accent1"/>
                </a:solidFill>
                <a:cs typeface="Arial"/>
              </a:rPr>
              <a:t>control</a:t>
            </a:r>
            <a:r>
              <a:rPr lang="en-GB" sz="1600" b="1" dirty="0">
                <a:ea typeface="+mn-lt"/>
                <a:cs typeface="+mn-lt"/>
              </a:rPr>
              <a:t> </a:t>
            </a:r>
            <a:r>
              <a:rPr lang="en-GB" sz="1600" dirty="0">
                <a:ea typeface="+mn-lt"/>
                <a:cs typeface="+mn-lt"/>
              </a:rPr>
              <a:t>of checkout experienc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55463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04A030B-48E8-C8A0-A331-7FBAEC936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Customer Themes	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6FABD8-6FB3-4B32-FBED-0BD6850D4D5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sz="2000" b="0" dirty="0"/>
              <a:t>For merchants to serve their shoppers, they must know who their shoppers are </a:t>
            </a:r>
            <a:r>
              <a:rPr lang="en-GB" sz="2000" dirty="0"/>
              <a:t>prior to the authorization</a:t>
            </a:r>
            <a:r>
              <a:rPr lang="en-GB" sz="2000" b="0" dirty="0"/>
              <a:t>.  </a:t>
            </a:r>
          </a:p>
          <a:p>
            <a:r>
              <a:rPr lang="en-GB" sz="2000" b="0" dirty="0"/>
              <a:t>Data not always available based on payment types or implementations</a:t>
            </a:r>
          </a:p>
          <a:p>
            <a:pPr lvl="1"/>
            <a:r>
              <a:rPr lang="en-US" sz="2000" dirty="0"/>
              <a:t>Merchants unanimously use payment credential as representation of their shopper</a:t>
            </a:r>
          </a:p>
          <a:p>
            <a:r>
              <a:rPr lang="en-GB" sz="2000" b="0" dirty="0"/>
              <a:t>Merchants lose sales when shoppers abandon baskets because of extra friction &amp; payment problems</a:t>
            </a:r>
          </a:p>
          <a:p>
            <a:r>
              <a:rPr lang="en-GB" sz="2000" b="0" dirty="0"/>
              <a:t>Industry initiatives driving for ubiquity abstract merchants away from optionality and flexibility to service their customers</a:t>
            </a:r>
          </a:p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959892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BTpGHmW9SmXi_B8q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BTpGHmW9SmXi_B8qYnw"/>
</p:tagLst>
</file>

<file path=ppt/theme/theme1.xml><?xml version="1.0" encoding="utf-8"?>
<a:theme xmlns:a="http://schemas.openxmlformats.org/drawingml/2006/main" name="FIS 16x9 Executive Presentation and Toolkit">
  <a:themeElements>
    <a:clrScheme name="FIS oct2015">
      <a:dk1>
        <a:sysClr val="windowText" lastClr="000000"/>
      </a:dk1>
      <a:lt1>
        <a:sysClr val="window" lastClr="FFFFFF"/>
      </a:lt1>
      <a:dk2>
        <a:srgbClr val="8DC63F"/>
      </a:dk2>
      <a:lt2>
        <a:srgbClr val="BBBCBC"/>
      </a:lt2>
      <a:accent1>
        <a:srgbClr val="8DC63F"/>
      </a:accent1>
      <a:accent2>
        <a:srgbClr val="004F59"/>
      </a:accent2>
      <a:accent3>
        <a:srgbClr val="00C1D5"/>
      </a:accent3>
      <a:accent4>
        <a:srgbClr val="009273"/>
      </a:accent4>
      <a:accent5>
        <a:srgbClr val="FFC845"/>
      </a:accent5>
      <a:accent6>
        <a:srgbClr val="BBBCBC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4_Office Theme">
  <a:themeElements>
    <a:clrScheme name="FIS COLORS">
      <a:dk1>
        <a:srgbClr val="000000"/>
      </a:dk1>
      <a:lt1>
        <a:srgbClr val="FFFFFF"/>
      </a:lt1>
      <a:dk2>
        <a:srgbClr val="282828"/>
      </a:dk2>
      <a:lt2>
        <a:srgbClr val="F2F2F2"/>
      </a:lt2>
      <a:accent1>
        <a:srgbClr val="4BCD3E"/>
      </a:accent1>
      <a:accent2>
        <a:srgbClr val="009775"/>
      </a:accent2>
      <a:accent3>
        <a:srgbClr val="015B7E"/>
      </a:accent3>
      <a:accent4>
        <a:srgbClr val="012834"/>
      </a:accent4>
      <a:accent5>
        <a:srgbClr val="3BCFF0"/>
      </a:accent5>
      <a:accent6>
        <a:srgbClr val="285BC5"/>
      </a:accent6>
      <a:hlink>
        <a:srgbClr val="1B1B6F"/>
      </a:hlink>
      <a:folHlink>
        <a:srgbClr val="4C12A1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IS">
  <a:themeElements>
    <a:clrScheme name="FIS 2019a">
      <a:dk1>
        <a:srgbClr val="000000"/>
      </a:dk1>
      <a:lt1>
        <a:srgbClr val="FFFFFF"/>
      </a:lt1>
      <a:dk2>
        <a:srgbClr val="012834"/>
      </a:dk2>
      <a:lt2>
        <a:srgbClr val="E8DBCB"/>
      </a:lt2>
      <a:accent1>
        <a:srgbClr val="4BCD3E"/>
      </a:accent1>
      <a:accent2>
        <a:srgbClr val="015B7E"/>
      </a:accent2>
      <a:accent3>
        <a:srgbClr val="3BCFF0"/>
      </a:accent3>
      <a:accent4>
        <a:srgbClr val="285BC5"/>
      </a:accent4>
      <a:accent5>
        <a:srgbClr val="A18CDE"/>
      </a:accent5>
      <a:accent6>
        <a:srgbClr val="4C12A1"/>
      </a:accent6>
      <a:hlink>
        <a:srgbClr val="285BC5"/>
      </a:hlink>
      <a:folHlink>
        <a:srgbClr val="3BCFF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IS 16x9 Presentation and Toolkit" id="{A498F7AC-CC8D-470A-92EF-D9E44327337F}" vid="{973AFD46-9208-48FE-83D3-12A733968885}"/>
    </a:ext>
  </a:extLst>
</a:theme>
</file>

<file path=ppt/theme/theme3.xml><?xml version="1.0" encoding="utf-8"?>
<a:theme xmlns:a="http://schemas.openxmlformats.org/drawingml/2006/main" name="Thank You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ransition Slide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FIS Corporate Presentation Template 1">
  <a:themeElements>
    <a:clrScheme name="FIS COLORS 1">
      <a:dk1>
        <a:sysClr val="windowText" lastClr="000000"/>
      </a:dk1>
      <a:lt1>
        <a:sysClr val="window" lastClr="FFFFFF"/>
      </a:lt1>
      <a:dk2>
        <a:srgbClr val="72246C"/>
      </a:dk2>
      <a:lt2>
        <a:srgbClr val="FFFFFF"/>
      </a:lt2>
      <a:accent1>
        <a:srgbClr val="8DC63F"/>
      </a:accent1>
      <a:accent2>
        <a:srgbClr val="009273"/>
      </a:accent2>
      <a:accent3>
        <a:srgbClr val="007E80"/>
      </a:accent3>
      <a:accent4>
        <a:srgbClr val="00AEC7"/>
      </a:accent4>
      <a:accent5>
        <a:srgbClr val="005F83"/>
      </a:accent5>
      <a:accent6>
        <a:srgbClr val="72246C"/>
      </a:accent6>
      <a:hlink>
        <a:srgbClr val="470A68"/>
      </a:hlink>
      <a:folHlink>
        <a:srgbClr val="F3D03E"/>
      </a:folHlink>
    </a:clrScheme>
    <a:fontScheme name="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j-lt"/>
            <a:cs typeface="Arial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FIS">
  <a:themeElements>
    <a:clrScheme name="FIS 2019a">
      <a:dk1>
        <a:srgbClr val="000000"/>
      </a:dk1>
      <a:lt1>
        <a:srgbClr val="FFFFFF"/>
      </a:lt1>
      <a:dk2>
        <a:srgbClr val="012834"/>
      </a:dk2>
      <a:lt2>
        <a:srgbClr val="E8DBCB"/>
      </a:lt2>
      <a:accent1>
        <a:srgbClr val="4BCD3E"/>
      </a:accent1>
      <a:accent2>
        <a:srgbClr val="015B7E"/>
      </a:accent2>
      <a:accent3>
        <a:srgbClr val="3BCFF0"/>
      </a:accent3>
      <a:accent4>
        <a:srgbClr val="285BC5"/>
      </a:accent4>
      <a:accent5>
        <a:srgbClr val="A18CDE"/>
      </a:accent5>
      <a:accent6>
        <a:srgbClr val="4C12A1"/>
      </a:accent6>
      <a:hlink>
        <a:srgbClr val="285BC5"/>
      </a:hlink>
      <a:folHlink>
        <a:srgbClr val="3BCFF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IS 16x9 Presentation and Toolkit" id="{A498F7AC-CC8D-470A-92EF-D9E44327337F}" vid="{973AFD46-9208-48FE-83D3-12A733968885}"/>
    </a:ext>
  </a:extLst>
</a:theme>
</file>

<file path=ppt/theme/theme7.xml><?xml version="1.0" encoding="utf-8"?>
<a:theme xmlns:a="http://schemas.openxmlformats.org/drawingml/2006/main" name="2_FIS">
  <a:themeElements>
    <a:clrScheme name="FIS oct2015">
      <a:dk1>
        <a:sysClr val="windowText" lastClr="000000"/>
      </a:dk1>
      <a:lt1>
        <a:sysClr val="window" lastClr="FFFFFF"/>
      </a:lt1>
      <a:dk2>
        <a:srgbClr val="8DC63F"/>
      </a:dk2>
      <a:lt2>
        <a:srgbClr val="BBBCBC"/>
      </a:lt2>
      <a:accent1>
        <a:srgbClr val="8DC63F"/>
      </a:accent1>
      <a:accent2>
        <a:srgbClr val="004F59"/>
      </a:accent2>
      <a:accent3>
        <a:srgbClr val="00C1D5"/>
      </a:accent3>
      <a:accent4>
        <a:srgbClr val="009273"/>
      </a:accent4>
      <a:accent5>
        <a:srgbClr val="FFC845"/>
      </a:accent5>
      <a:accent6>
        <a:srgbClr val="BBBCBC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IS 16x9 Presentation and Toolkit" id="{A498F7AC-CC8D-470A-92EF-D9E44327337F}" vid="{973AFD46-9208-48FE-83D3-12A733968885}"/>
    </a:ext>
  </a:extLst>
</a:theme>
</file>

<file path=ppt/theme/theme8.xml><?xml version="1.0" encoding="utf-8"?>
<a:theme xmlns:a="http://schemas.openxmlformats.org/drawingml/2006/main" name="1_FIS 16x9 Executive Presentation and Toolkit">
  <a:themeElements>
    <a:clrScheme name="FIS oct2015">
      <a:dk1>
        <a:sysClr val="windowText" lastClr="000000"/>
      </a:dk1>
      <a:lt1>
        <a:sysClr val="window" lastClr="FFFFFF"/>
      </a:lt1>
      <a:dk2>
        <a:srgbClr val="8DC63F"/>
      </a:dk2>
      <a:lt2>
        <a:srgbClr val="BBBCBC"/>
      </a:lt2>
      <a:accent1>
        <a:srgbClr val="8DC63F"/>
      </a:accent1>
      <a:accent2>
        <a:srgbClr val="004F59"/>
      </a:accent2>
      <a:accent3>
        <a:srgbClr val="00C1D5"/>
      </a:accent3>
      <a:accent4>
        <a:srgbClr val="009273"/>
      </a:accent4>
      <a:accent5>
        <a:srgbClr val="FFC845"/>
      </a:accent5>
      <a:accent6>
        <a:srgbClr val="BBBCBC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Office Theme">
  <a:themeElements>
    <a:clrScheme name="FIS COLORS">
      <a:dk1>
        <a:srgbClr val="000000"/>
      </a:dk1>
      <a:lt1>
        <a:srgbClr val="FFFFFF"/>
      </a:lt1>
      <a:dk2>
        <a:srgbClr val="282828"/>
      </a:dk2>
      <a:lt2>
        <a:srgbClr val="F2F2F2"/>
      </a:lt2>
      <a:accent1>
        <a:srgbClr val="4BCD3E"/>
      </a:accent1>
      <a:accent2>
        <a:srgbClr val="009775"/>
      </a:accent2>
      <a:accent3>
        <a:srgbClr val="015B7E"/>
      </a:accent3>
      <a:accent4>
        <a:srgbClr val="012834"/>
      </a:accent4>
      <a:accent5>
        <a:srgbClr val="3BCFF0"/>
      </a:accent5>
      <a:accent6>
        <a:srgbClr val="285BC5"/>
      </a:accent6>
      <a:hlink>
        <a:srgbClr val="1B1B6F"/>
      </a:hlink>
      <a:folHlink>
        <a:srgbClr val="4C12A1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isa Digital Authentication Framework_July_2022</Template>
  <TotalTime>15443</TotalTime>
  <Words>819</Words>
  <Application>Microsoft Office PowerPoint</Application>
  <PresentationFormat>Widescreen</PresentationFormat>
  <Paragraphs>101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1" baseType="lpstr">
      <vt:lpstr>Arial</vt:lpstr>
      <vt:lpstr>Arial Black</vt:lpstr>
      <vt:lpstr>Calibri</vt:lpstr>
      <vt:lpstr>Calibri Light</vt:lpstr>
      <vt:lpstr>Georgia</vt:lpstr>
      <vt:lpstr>Lucida Grande</vt:lpstr>
      <vt:lpstr>Symbol</vt:lpstr>
      <vt:lpstr>Wingdings</vt:lpstr>
      <vt:lpstr>FIS 16x9 Executive Presentation and Toolkit</vt:lpstr>
      <vt:lpstr>FIS</vt:lpstr>
      <vt:lpstr>Thank You</vt:lpstr>
      <vt:lpstr>Transition Slide 1</vt:lpstr>
      <vt:lpstr>FIS Corporate Presentation Template 1</vt:lpstr>
      <vt:lpstr>1_FIS</vt:lpstr>
      <vt:lpstr>2_FIS</vt:lpstr>
      <vt:lpstr>1_FIS 16x9 Executive Presentation and Toolkit</vt:lpstr>
      <vt:lpstr>3_Office Theme</vt:lpstr>
      <vt:lpstr>4_Office Theme</vt:lpstr>
      <vt:lpstr>think-cell Slide</vt:lpstr>
      <vt:lpstr>PSP Use Cases</vt:lpstr>
      <vt:lpstr>Agenda</vt:lpstr>
      <vt:lpstr>FIS MERCHANT SOLUTIONS</vt:lpstr>
      <vt:lpstr>GoCart</vt:lpstr>
      <vt:lpstr>PowerPoint Presentation</vt:lpstr>
      <vt:lpstr>Customer Persona</vt:lpstr>
      <vt:lpstr>Customer Persona</vt:lpstr>
      <vt:lpstr>Customer Persona</vt:lpstr>
      <vt:lpstr>Key Customer Themes </vt:lpstr>
      <vt:lpstr>PowerPoint Presentation</vt:lpstr>
      <vt:lpstr>Merchant Sentiments Around Web Fill</vt:lpstr>
      <vt:lpstr>Engagement Offer to W3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SP Use Cases</dc:title>
  <dc:creator>Peterson, Brant</dc:creator>
  <cp:lastModifiedBy>Peterson, Brant</cp:lastModifiedBy>
  <cp:revision>57</cp:revision>
  <dcterms:created xsi:type="dcterms:W3CDTF">2022-08-22T21:13:29Z</dcterms:created>
  <dcterms:modified xsi:type="dcterms:W3CDTF">2022-09-12T15:05:44Z</dcterms:modified>
</cp:coreProperties>
</file>